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751" r:id="rId4"/>
  </p:sldMasterIdLst>
  <p:notesMasterIdLst>
    <p:notesMasterId r:id="rId21"/>
  </p:notesMasterIdLst>
  <p:handoutMasterIdLst>
    <p:handoutMasterId r:id="rId22"/>
  </p:handoutMasterIdLst>
  <p:sldIdLst>
    <p:sldId id="731" r:id="rId5"/>
    <p:sldId id="746" r:id="rId6"/>
    <p:sldId id="767" r:id="rId7"/>
    <p:sldId id="772" r:id="rId8"/>
    <p:sldId id="1868" r:id="rId9"/>
    <p:sldId id="757" r:id="rId10"/>
    <p:sldId id="747" r:id="rId11"/>
    <p:sldId id="748" r:id="rId12"/>
    <p:sldId id="749" r:id="rId13"/>
    <p:sldId id="750" r:id="rId14"/>
    <p:sldId id="751" r:id="rId15"/>
    <p:sldId id="752" r:id="rId16"/>
    <p:sldId id="753" r:id="rId17"/>
    <p:sldId id="755" r:id="rId18"/>
    <p:sldId id="754" r:id="rId19"/>
    <p:sldId id="756" r:id="rId20"/>
  </p:sldIdLst>
  <p:sldSz cx="9906000" cy="6858000" type="A4"/>
  <p:notesSz cx="6794500" cy="9931400"/>
  <p:embeddedFontLs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IBM Plex Sans" panose="020B0503050203000203" pitchFamily="34" charset="0"/>
      <p:regular r:id="rId27"/>
      <p:bold r:id="rId28"/>
      <p:italic r:id="rId29"/>
      <p:boldItalic r:id="rId30"/>
    </p:embeddedFont>
    <p:embeddedFont>
      <p:font typeface="IBM Plex Sans Light" panose="020B0403050203000203" pitchFamily="34" charset="0"/>
      <p:regular r:id="rId31"/>
      <p:italic r:id="rId32"/>
    </p:embeddedFont>
    <p:embeddedFont>
      <p:font typeface="IBM Plex Sans Medium" panose="020B0603050203000203" pitchFamily="34" charset="0"/>
      <p:regular r:id="rId33"/>
      <p:bold r:id="rId34"/>
      <p:italic r:id="rId35"/>
      <p:boldItalic r:id="rId36"/>
    </p:embeddedFont>
    <p:embeddedFont>
      <p:font typeface="IBM Plex Sans SemiBold" panose="020B0703050203000203" pitchFamily="34" charset="0"/>
      <p:regular r:id="rId37"/>
      <p:bold r:id="rId38"/>
      <p:italic r:id="rId39"/>
      <p:boldItalic r:id="rId40"/>
    </p:embeddedFont>
    <p:embeddedFont>
      <p:font typeface="Montserrat" panose="00000500000000000000" pitchFamily="2" charset="0"/>
      <p:regular r:id="rId41"/>
      <p:bold r:id="rId42"/>
      <p:italic r:id="rId43"/>
      <p:boldItalic r:id="rId44"/>
    </p:embeddedFont>
    <p:embeddedFont>
      <p:font typeface="Open Sans" panose="020B0606030504020204" pitchFamily="34" charset="0"/>
      <p:regular r:id="rId45"/>
      <p:bold r:id="rId46"/>
      <p:italic r:id="rId47"/>
      <p:boldItalic r:id="rId48"/>
    </p:embeddedFont>
    <p:embeddedFont>
      <p:font typeface="Poppins" panose="00000500000000000000" pitchFamily="2" charset="0"/>
      <p:regular r:id="rId49"/>
      <p:bold r:id="rId50"/>
      <p:italic r:id="rId51"/>
      <p:boldItalic r:id="rId52"/>
    </p:embeddedFont>
    <p:embeddedFont>
      <p:font typeface="Poppins Medium" panose="00000600000000000000" pitchFamily="2" charset="0"/>
      <p:regular r:id="rId53"/>
      <p:italic r:id="rId54"/>
    </p:embeddedFont>
    <p:embeddedFont>
      <p:font typeface="Raleway" pitchFamily="2" charset="0"/>
      <p:regular r:id="rId55"/>
      <p:bold r:id="rId56"/>
      <p:italic r:id="rId57"/>
      <p:boldItalic r:id="rId58"/>
    </p:embeddedFont>
  </p:embeddedFontLst>
  <p:custDataLst>
    <p:tags r:id="rId59"/>
  </p:custDataLst>
  <p:defaultTextStyle>
    <a:defPPr>
      <a:defRPr lang="en-US"/>
    </a:defPPr>
    <a:lvl1pPr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une johansen" initials="rj" lastIdx="1" clrIdx="0">
    <p:extLst>
      <p:ext uri="{19B8F6BF-5375-455C-9EA6-DF929625EA0E}">
        <p15:presenceInfo xmlns:p15="http://schemas.microsoft.com/office/powerpoint/2012/main" userId="a5ca7d38af8eb9e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9AAF"/>
    <a:srgbClr val="7DD8C7"/>
    <a:srgbClr val="F2F2F2"/>
    <a:srgbClr val="BFBFBF"/>
    <a:srgbClr val="F5FFC3"/>
    <a:srgbClr val="E614D7"/>
    <a:srgbClr val="1EABD9"/>
    <a:srgbClr val="1994CB"/>
    <a:srgbClr val="107AAB"/>
    <a:srgbClr val="064F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196" autoAdjust="0"/>
    <p:restoredTop sz="95673" autoAdjust="0"/>
  </p:normalViewPr>
  <p:slideViewPr>
    <p:cSldViewPr snapToGrid="0">
      <p:cViewPr varScale="1">
        <p:scale>
          <a:sx n="79" d="100"/>
          <a:sy n="79" d="100"/>
        </p:scale>
        <p:origin x="1190" y="62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2346"/>
    </p:cViewPr>
  </p:sorterViewPr>
  <p:notesViewPr>
    <p:cSldViewPr snapToGrid="0">
      <p:cViewPr varScale="1">
        <p:scale>
          <a:sx n="63" d="100"/>
          <a:sy n="63" d="100"/>
        </p:scale>
        <p:origin x="341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4.fntdata"/><Relationship Id="rId39" Type="http://schemas.openxmlformats.org/officeDocument/2006/relationships/font" Target="fonts/font17.fntdata"/><Relationship Id="rId21" Type="http://schemas.openxmlformats.org/officeDocument/2006/relationships/notesMaster" Target="notesMasters/notesMaster1.xml"/><Relationship Id="rId34" Type="http://schemas.openxmlformats.org/officeDocument/2006/relationships/font" Target="fonts/font12.fntdata"/><Relationship Id="rId42" Type="http://schemas.openxmlformats.org/officeDocument/2006/relationships/font" Target="fonts/font20.fntdata"/><Relationship Id="rId47" Type="http://schemas.openxmlformats.org/officeDocument/2006/relationships/font" Target="fonts/font25.fntdata"/><Relationship Id="rId50" Type="http://schemas.openxmlformats.org/officeDocument/2006/relationships/font" Target="fonts/font28.fntdata"/><Relationship Id="rId55" Type="http://schemas.openxmlformats.org/officeDocument/2006/relationships/font" Target="fonts/font33.fntdata"/><Relationship Id="rId63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font" Target="fonts/font7.fntdata"/><Relationship Id="rId11" Type="http://schemas.openxmlformats.org/officeDocument/2006/relationships/slide" Target="slides/slide7.xml"/><Relationship Id="rId24" Type="http://schemas.openxmlformats.org/officeDocument/2006/relationships/font" Target="fonts/font2.fntdata"/><Relationship Id="rId32" Type="http://schemas.openxmlformats.org/officeDocument/2006/relationships/font" Target="fonts/font10.fntdata"/><Relationship Id="rId37" Type="http://schemas.openxmlformats.org/officeDocument/2006/relationships/font" Target="fonts/font15.fntdata"/><Relationship Id="rId40" Type="http://schemas.openxmlformats.org/officeDocument/2006/relationships/font" Target="fonts/font18.fntdata"/><Relationship Id="rId45" Type="http://schemas.openxmlformats.org/officeDocument/2006/relationships/font" Target="fonts/font23.fntdata"/><Relationship Id="rId53" Type="http://schemas.openxmlformats.org/officeDocument/2006/relationships/font" Target="fonts/font31.fntdata"/><Relationship Id="rId58" Type="http://schemas.openxmlformats.org/officeDocument/2006/relationships/font" Target="fonts/font36.fntdata"/><Relationship Id="rId5" Type="http://schemas.openxmlformats.org/officeDocument/2006/relationships/slide" Target="slides/slide1.xml"/><Relationship Id="rId61" Type="http://schemas.openxmlformats.org/officeDocument/2006/relationships/presProps" Target="pres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font" Target="fonts/font13.fntdata"/><Relationship Id="rId43" Type="http://schemas.openxmlformats.org/officeDocument/2006/relationships/font" Target="fonts/font21.fntdata"/><Relationship Id="rId48" Type="http://schemas.openxmlformats.org/officeDocument/2006/relationships/font" Target="fonts/font26.fntdata"/><Relationship Id="rId56" Type="http://schemas.openxmlformats.org/officeDocument/2006/relationships/font" Target="fonts/font34.fntdata"/><Relationship Id="rId64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font" Target="fonts/font29.fntdata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3.fntdata"/><Relationship Id="rId33" Type="http://schemas.openxmlformats.org/officeDocument/2006/relationships/font" Target="fonts/font11.fntdata"/><Relationship Id="rId38" Type="http://schemas.openxmlformats.org/officeDocument/2006/relationships/font" Target="fonts/font16.fntdata"/><Relationship Id="rId46" Type="http://schemas.openxmlformats.org/officeDocument/2006/relationships/font" Target="fonts/font24.fntdata"/><Relationship Id="rId59" Type="http://schemas.openxmlformats.org/officeDocument/2006/relationships/tags" Target="tags/tag1.xml"/><Relationship Id="rId20" Type="http://schemas.openxmlformats.org/officeDocument/2006/relationships/slide" Target="slides/slide16.xml"/><Relationship Id="rId41" Type="http://schemas.openxmlformats.org/officeDocument/2006/relationships/font" Target="fonts/font19.fntdata"/><Relationship Id="rId54" Type="http://schemas.openxmlformats.org/officeDocument/2006/relationships/font" Target="fonts/font32.fntdata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36" Type="http://schemas.openxmlformats.org/officeDocument/2006/relationships/font" Target="fonts/font14.fntdata"/><Relationship Id="rId49" Type="http://schemas.openxmlformats.org/officeDocument/2006/relationships/font" Target="fonts/font27.fntdata"/><Relationship Id="rId57" Type="http://schemas.openxmlformats.org/officeDocument/2006/relationships/font" Target="fonts/font35.fntdata"/><Relationship Id="rId10" Type="http://schemas.openxmlformats.org/officeDocument/2006/relationships/slide" Target="slides/slide6.xml"/><Relationship Id="rId31" Type="http://schemas.openxmlformats.org/officeDocument/2006/relationships/font" Target="fonts/font9.fntdata"/><Relationship Id="rId44" Type="http://schemas.openxmlformats.org/officeDocument/2006/relationships/font" Target="fonts/font22.fntdata"/><Relationship Id="rId52" Type="http://schemas.openxmlformats.org/officeDocument/2006/relationships/font" Target="fonts/font30.fntdata"/><Relationship Id="rId6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863751323635807E-2"/>
          <c:y val="0.21217201177596431"/>
          <c:w val="0.96227249735272835"/>
          <c:h val="0.422025480480331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509AAF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509AAF"/>
                    </a:solidFill>
                    <a:latin typeface="IBM Plex Sans Medium" panose="020B06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9F-654F-ADAE-7011A53A569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7DD8C7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509AAF"/>
                    </a:solidFill>
                    <a:latin typeface="IBM Plex Sans Medium" panose="020B06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9F-654F-ADAE-7011A53A569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5FFC3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509AAF"/>
                    </a:solidFill>
                    <a:latin typeface="IBM Plex Sans Medium" panose="020B06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9F-654F-ADAE-7011A53A569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50893680"/>
        <c:axId val="550883840"/>
      </c:barChart>
      <c:catAx>
        <c:axId val="550893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509AA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509AAF"/>
                </a:solidFill>
                <a:latin typeface="IBM Plex Sans Medium" panose="020B0603050203000203" pitchFamily="34" charset="0"/>
                <a:ea typeface="+mn-ea"/>
                <a:cs typeface="+mn-cs"/>
              </a:defRPr>
            </a:pPr>
            <a:endParaRPr lang="en-US"/>
          </a:p>
        </c:txPr>
        <c:crossAx val="550883840"/>
        <c:crosses val="autoZero"/>
        <c:auto val="1"/>
        <c:lblAlgn val="ctr"/>
        <c:lblOffset val="100"/>
        <c:noMultiLvlLbl val="0"/>
      </c:catAx>
      <c:valAx>
        <c:axId val="550883840"/>
        <c:scaling>
          <c:orientation val="minMax"/>
        </c:scaling>
        <c:delete val="1"/>
        <c:axPos val="l"/>
        <c:majorGridlines>
          <c:spPr>
            <a:ln w="1270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550893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509AAF"/>
              </a:solidFill>
              <a:latin typeface="IBM Plex Sans Medium" panose="020B0603050203000203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509AAF"/>
          </a:solidFill>
          <a:latin typeface="IBM Plex Sans Medium" panose="020B0603050203000203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rgbClr val="509AAF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739-5641-B3B5-08C0696642F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rgbClr val="F5FFC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739-5641-B3B5-08C0696642F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rgbClr val="7DD8C7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739-5641-B3B5-08C0696642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49437360"/>
        <c:axId val="749438016"/>
      </c:lineChart>
      <c:catAx>
        <c:axId val="749437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509AA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509AAF"/>
                </a:solidFill>
                <a:latin typeface="IBM Plex Sans Medium" panose="020B0603050203000203" pitchFamily="34" charset="0"/>
                <a:ea typeface="+mn-ea"/>
                <a:cs typeface="+mn-cs"/>
              </a:defRPr>
            </a:pPr>
            <a:endParaRPr lang="en-US"/>
          </a:p>
        </c:txPr>
        <c:crossAx val="749438016"/>
        <c:crosses val="autoZero"/>
        <c:auto val="1"/>
        <c:lblAlgn val="ctr"/>
        <c:lblOffset val="100"/>
        <c:noMultiLvlLbl val="0"/>
      </c:catAx>
      <c:valAx>
        <c:axId val="749438016"/>
        <c:scaling>
          <c:orientation val="minMax"/>
        </c:scaling>
        <c:delete val="0"/>
        <c:axPos val="l"/>
        <c:majorGridlines>
          <c:spPr>
            <a:ln w="1270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509AAF"/>
                </a:solidFill>
                <a:latin typeface="IBM Plex Sans Medium" panose="020B0603050203000203" pitchFamily="34" charset="0"/>
                <a:ea typeface="+mn-ea"/>
                <a:cs typeface="+mn-cs"/>
              </a:defRPr>
            </a:pPr>
            <a:endParaRPr lang="en-US"/>
          </a:p>
        </c:txPr>
        <c:crossAx val="749437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509AAF"/>
              </a:solidFill>
              <a:latin typeface="IBM Plex Sans Medium" panose="020B0603050203000203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509AAF"/>
          </a:solidFill>
          <a:latin typeface="IBM Plex Sans Medium" panose="020B0603050203000203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2"/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da-DK"/>
          </a:p>
        </c:rich>
      </c:tx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2"/>
              </a:solidFill>
              <a:latin typeface="Montserrat" panose="00000500000000000000" pitchFamily="2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1823164347850652E-2"/>
          <c:y val="0.2081270435766292"/>
          <c:w val="0.9363536713042987"/>
          <c:h val="0.551593723203822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509AAF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BC4-E64C-BDEF-2281C967C8AE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BC4-E64C-BDEF-2281C967C8AE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BC4-E64C-BDEF-2281C967C8AE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BC4-E64C-BDEF-2281C967C8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509AAF"/>
                    </a:solidFill>
                    <a:latin typeface="IBM Plex Sans Medium" panose="020B06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Netflix</c:v>
                </c:pt>
                <c:pt idx="1">
                  <c:v>Amazon Prime</c:v>
                </c:pt>
                <c:pt idx="2">
                  <c:v>Hulu</c:v>
                </c:pt>
                <c:pt idx="3">
                  <c:v>Subscription to any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.43</c:v>
                </c:pt>
                <c:pt idx="1">
                  <c:v>0.22</c:v>
                </c:pt>
                <c:pt idx="2">
                  <c:v>0.09</c:v>
                </c:pt>
                <c:pt idx="3">
                  <c:v>0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C4-E64C-BDEF-2281C967C8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7DD8C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DD8C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CBC4-E64C-BDEF-2281C967C8AE}"/>
              </c:ext>
            </c:extLst>
          </c:dPt>
          <c:dLbls>
            <c:dLbl>
              <c:idx val="0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CBC4-E64C-BDEF-2281C967C8AE}"/>
                </c:ext>
              </c:extLst>
            </c:dLbl>
            <c:dLbl>
              <c:idx val="1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BC4-E64C-BDEF-2281C967C8AE}"/>
                </c:ext>
              </c:extLst>
            </c:dLbl>
            <c:dLbl>
              <c:idx val="2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CBC4-E64C-BDEF-2281C967C8AE}"/>
                </c:ext>
              </c:extLst>
            </c:dLbl>
            <c:dLbl>
              <c:idx val="3"/>
              <c:numFmt formatCode="#,##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BC4-E64C-BDEF-2281C967C8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509AAF"/>
                    </a:solidFill>
                    <a:latin typeface="IBM Plex Sans Medium" panose="020B06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Netflix</c:v>
                </c:pt>
                <c:pt idx="1">
                  <c:v>Amazon Prime</c:v>
                </c:pt>
                <c:pt idx="2">
                  <c:v>Hulu</c:v>
                </c:pt>
                <c:pt idx="3">
                  <c:v>Subscription to any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.5</c:v>
                </c:pt>
                <c:pt idx="1">
                  <c:v>0.28999999999999998</c:v>
                </c:pt>
                <c:pt idx="2">
                  <c:v>0.14000000000000001</c:v>
                </c:pt>
                <c:pt idx="3">
                  <c:v>0.57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BC4-E64C-BDEF-2281C967C8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451136"/>
        <c:axId val="66437120"/>
      </c:barChart>
      <c:catAx>
        <c:axId val="674511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low"/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1"/>
        <c:axPos val="l"/>
        <c:numFmt formatCode="#,##0.0%" sourceLinked="0"/>
        <c:majorTickMark val="none"/>
        <c:minorTickMark val="none"/>
        <c:tickLblPos val="low"/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3900973237561629"/>
          <c:y val="7.584586032685324E-2"/>
          <c:w val="0.22424897787731976"/>
          <c:h val="0.108430220339966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509AAF"/>
              </a:solidFill>
              <a:latin typeface="IBM Plex Sans Medium" panose="020B0603050203000203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1"/>
  </c:chart>
  <c:spPr>
    <a:noFill/>
    <a:ln>
      <a:noFill/>
    </a:ln>
    <a:effectLst/>
  </c:spPr>
  <c:txPr>
    <a:bodyPr/>
    <a:lstStyle/>
    <a:p>
      <a:pPr>
        <a:defRPr sz="1000">
          <a:solidFill>
            <a:schemeClr val="tx2"/>
          </a:solidFill>
          <a:latin typeface="Montserrat" panose="00000500000000000000" pitchFamily="2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endParaRPr lang="da-DK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8.357637847720395E-2"/>
          <c:y val="7.8590169984293218E-2"/>
          <c:w val="0.88520178909911718"/>
          <c:h val="0.8213859773084245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bscribers in millions</c:v>
                </c:pt>
              </c:strCache>
            </c:strRef>
          </c:tx>
          <c:spPr>
            <a:ln w="12700">
              <a:solidFill>
                <a:srgbClr val="509AAF"/>
              </a:solidFill>
            </a:ln>
          </c:spPr>
          <c:marker>
            <c:symbol val="none"/>
          </c:marker>
          <c:cat>
            <c:strRef>
              <c:f>Sheet1!$A$2:$A$26</c:f>
              <c:strCache>
                <c:ptCount val="25"/>
                <c:pt idx="0">
                  <c:v>Q3 2011</c:v>
                </c:pt>
                <c:pt idx="1">
                  <c:v>Q4 2011</c:v>
                </c:pt>
                <c:pt idx="2">
                  <c:v>Q1 2012</c:v>
                </c:pt>
                <c:pt idx="3">
                  <c:v>Q2 2012</c:v>
                </c:pt>
                <c:pt idx="4">
                  <c:v>Q3 2012</c:v>
                </c:pt>
                <c:pt idx="5">
                  <c:v>Q4 2012</c:v>
                </c:pt>
                <c:pt idx="6">
                  <c:v>Q1 2013</c:v>
                </c:pt>
                <c:pt idx="7">
                  <c:v>Q2 2013</c:v>
                </c:pt>
                <c:pt idx="8">
                  <c:v>Q3 2013</c:v>
                </c:pt>
                <c:pt idx="9">
                  <c:v>Q4 2013</c:v>
                </c:pt>
                <c:pt idx="10">
                  <c:v>Q1 2014</c:v>
                </c:pt>
                <c:pt idx="11">
                  <c:v>Q2 2014</c:v>
                </c:pt>
                <c:pt idx="12">
                  <c:v>Q3 2014</c:v>
                </c:pt>
                <c:pt idx="13">
                  <c:v>Q4 2014</c:v>
                </c:pt>
                <c:pt idx="14">
                  <c:v>Q1 2015</c:v>
                </c:pt>
                <c:pt idx="15">
                  <c:v>Q2 2015</c:v>
                </c:pt>
                <c:pt idx="16">
                  <c:v>Q3 2015</c:v>
                </c:pt>
                <c:pt idx="17">
                  <c:v>Q4 2015</c:v>
                </c:pt>
                <c:pt idx="18">
                  <c:v>Q1 2016</c:v>
                </c:pt>
                <c:pt idx="19">
                  <c:v>Q2 2016</c:v>
                </c:pt>
                <c:pt idx="20">
                  <c:v>Q3 2016</c:v>
                </c:pt>
                <c:pt idx="21">
                  <c:v>Q4 2016</c:v>
                </c:pt>
                <c:pt idx="22">
                  <c:v>Q1 2017</c:v>
                </c:pt>
                <c:pt idx="23">
                  <c:v>Q2 2017</c:v>
                </c:pt>
                <c:pt idx="24">
                  <c:v>Q3 2017</c:v>
                </c:pt>
              </c:strCache>
            </c:strRef>
          </c:cat>
          <c:val>
            <c:numRef>
              <c:f>Sheet1!$B$2:$B$26</c:f>
              <c:numCache>
                <c:formatCode>General</c:formatCode>
                <c:ptCount val="25"/>
                <c:pt idx="0">
                  <c:v>21.45</c:v>
                </c:pt>
                <c:pt idx="1">
                  <c:v>21.67</c:v>
                </c:pt>
                <c:pt idx="2">
                  <c:v>23.41</c:v>
                </c:pt>
                <c:pt idx="3">
                  <c:v>23.94</c:v>
                </c:pt>
                <c:pt idx="4">
                  <c:v>25.1</c:v>
                </c:pt>
                <c:pt idx="5">
                  <c:v>27.15</c:v>
                </c:pt>
                <c:pt idx="6">
                  <c:v>29.17</c:v>
                </c:pt>
                <c:pt idx="7">
                  <c:v>29.81</c:v>
                </c:pt>
                <c:pt idx="8">
                  <c:v>31.09</c:v>
                </c:pt>
                <c:pt idx="9">
                  <c:v>33.42</c:v>
                </c:pt>
                <c:pt idx="10">
                  <c:v>35.67</c:v>
                </c:pt>
                <c:pt idx="11">
                  <c:v>36.24</c:v>
                </c:pt>
                <c:pt idx="12">
                  <c:v>37.22</c:v>
                </c:pt>
                <c:pt idx="13">
                  <c:v>39.11</c:v>
                </c:pt>
                <c:pt idx="14">
                  <c:v>41.4</c:v>
                </c:pt>
                <c:pt idx="15">
                  <c:v>42.3</c:v>
                </c:pt>
                <c:pt idx="16">
                  <c:v>43.18</c:v>
                </c:pt>
                <c:pt idx="17">
                  <c:v>44.74</c:v>
                </c:pt>
                <c:pt idx="18">
                  <c:v>46.97</c:v>
                </c:pt>
                <c:pt idx="19">
                  <c:v>47.13</c:v>
                </c:pt>
                <c:pt idx="20">
                  <c:v>47.5</c:v>
                </c:pt>
                <c:pt idx="21">
                  <c:v>49.43</c:v>
                </c:pt>
                <c:pt idx="22">
                  <c:v>50.85</c:v>
                </c:pt>
                <c:pt idx="23">
                  <c:v>51.92</c:v>
                </c:pt>
                <c:pt idx="24">
                  <c:v>52.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1CE-D743-B03C-C8B78DD5D9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7451136"/>
        <c:axId val="66437120"/>
      </c:lineChart>
      <c:catAx>
        <c:axId val="674511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low"/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low"/>
        <c:spPr>
          <a:ln>
            <a:noFill/>
          </a:ln>
        </c:spPr>
        <c:txPr>
          <a:bodyPr/>
          <a:lstStyle/>
          <a:p>
            <a:pPr>
              <a:defRPr>
                <a:solidFill>
                  <a:srgbClr val="509AAF"/>
                </a:solidFill>
                <a:latin typeface="IBM Plex Sans Medium" panose="020B0603050203000203" pitchFamily="34" charset="0"/>
              </a:defRPr>
            </a:pPr>
            <a:endParaRPr lang="en-US"/>
          </a:p>
        </c:txPr>
        <c:crossAx val="67451136"/>
        <c:crosses val="autoZero"/>
        <c:crossBetween val="between"/>
      </c:valAx>
    </c:plotArea>
    <c:plotVisOnly val="1"/>
    <c:dispBlanksAs val="zero"/>
    <c:showDLblsOverMax val="1"/>
  </c:chart>
  <c:txPr>
    <a:bodyPr/>
    <a:lstStyle/>
    <a:p>
      <a:pPr>
        <a:defRPr sz="1000" smtId="4294967295">
          <a:solidFill>
            <a:schemeClr val="tx2"/>
          </a:solidFill>
          <a:latin typeface="Montserrat" panose="00000500000000000000" pitchFamily="2" charset="0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cap="all" spc="150" baseline="0">
                <a:solidFill>
                  <a:schemeClr val="tx1"/>
                </a:solidFill>
                <a:latin typeface="Open Sans" panose="020B0606030504020204"/>
                <a:ea typeface="+mn-ea"/>
                <a:cs typeface="+mn-cs"/>
              </a:defRPr>
            </a:pPr>
            <a:endParaRPr lang="da-DK"/>
          </a:p>
        </c:rich>
      </c:tx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cap="all" spc="150" baseline="0">
              <a:solidFill>
                <a:schemeClr val="tx1"/>
              </a:solidFill>
              <a:latin typeface="Open Sans" panose="020B0606030504020204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0.12199406966250667"/>
          <c:w val="0.96095270496821406"/>
          <c:h val="0.603382769664781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unique users in millions</c:v>
                </c:pt>
              </c:strCache>
            </c:strRef>
          </c:tx>
          <c:spPr>
            <a:solidFill>
              <a:srgbClr val="509AAF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D8C3-A042-AE50-6660381E4A92}"/>
                </c:ext>
              </c:extLst>
            </c:dLbl>
            <c:dLbl>
              <c:idx val="1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8C3-A042-AE50-6660381E4A92}"/>
                </c:ext>
              </c:extLst>
            </c:dLbl>
            <c:dLbl>
              <c:idx val="2"/>
              <c:numFmt formatCode="#,##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D8C3-A042-AE50-6660381E4A92}"/>
                </c:ext>
              </c:extLst>
            </c:dLbl>
            <c:dLbl>
              <c:idx val="3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8C3-A042-AE50-6660381E4A92}"/>
                </c:ext>
              </c:extLst>
            </c:dLbl>
            <c:dLbl>
              <c:idx val="4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D8C3-A042-AE50-6660381E4A92}"/>
                </c:ext>
              </c:extLst>
            </c:dLbl>
            <c:dLbl>
              <c:idx val="5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8C3-A042-AE50-6660381E4A92}"/>
                </c:ext>
              </c:extLst>
            </c:dLbl>
            <c:dLbl>
              <c:idx val="6"/>
              <c:numFmt formatCode="#,##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D8C3-A042-AE50-6660381E4A92}"/>
                </c:ext>
              </c:extLst>
            </c:dLbl>
            <c:dLbl>
              <c:idx val="7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8C3-A042-AE50-6660381E4A92}"/>
                </c:ext>
              </c:extLst>
            </c:dLbl>
            <c:dLbl>
              <c:idx val="8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D8C3-A042-AE50-6660381E4A92}"/>
                </c:ext>
              </c:extLst>
            </c:dLbl>
            <c:dLbl>
              <c:idx val="9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D8C3-A042-AE50-6660381E4A92}"/>
                </c:ext>
              </c:extLst>
            </c:dLbl>
            <c:dLbl>
              <c:idx val="10"/>
              <c:numFmt formatCode="#,##0.0" sourceLinked="0"/>
              <c:spPr>
                <a:solidFill>
                  <a:srgbClr val="F2F2F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509AAF"/>
                      </a:solidFill>
                      <a:latin typeface="IBM Plex Sans Medium" panose="020B060305020300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8C3-A042-AE50-6660381E4A92}"/>
                </c:ext>
              </c:extLst>
            </c:dLbl>
            <c:spPr>
              <a:solidFill>
                <a:srgbClr val="F2F2F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509AAF"/>
                    </a:solidFill>
                    <a:latin typeface="IBM Plex Sans Medium" panose="020B060305020300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YouTube</c:v>
                </c:pt>
                <c:pt idx="1">
                  <c:v>Vimeo</c:v>
                </c:pt>
                <c:pt idx="2">
                  <c:v>BBC iPlayer</c:v>
                </c:pt>
                <c:pt idx="3">
                  <c:v>Channel 4</c:v>
                </c:pt>
                <c:pt idx="4">
                  <c:v>Netflix</c:v>
                </c:pt>
                <c:pt idx="5">
                  <c:v>Dailymotion</c:v>
                </c:pt>
                <c:pt idx="6">
                  <c:v>NOW TV</c:v>
                </c:pt>
                <c:pt idx="7">
                  <c:v>itv Hub</c:v>
                </c:pt>
                <c:pt idx="8">
                  <c:v>Amazon Video</c:v>
                </c:pt>
                <c:pt idx="9">
                  <c:v>Sky Go</c:v>
                </c:pt>
                <c:pt idx="10">
                  <c:v>Channel 5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42.3</c:v>
                </c:pt>
                <c:pt idx="1">
                  <c:v>20.6</c:v>
                </c:pt>
                <c:pt idx="2">
                  <c:v>17</c:v>
                </c:pt>
                <c:pt idx="3">
                  <c:v>10.1</c:v>
                </c:pt>
                <c:pt idx="4">
                  <c:v>6.2</c:v>
                </c:pt>
                <c:pt idx="5">
                  <c:v>4.9000000000000004</c:v>
                </c:pt>
                <c:pt idx="6">
                  <c:v>4</c:v>
                </c:pt>
                <c:pt idx="7">
                  <c:v>2.9</c:v>
                </c:pt>
                <c:pt idx="8">
                  <c:v>2.7</c:v>
                </c:pt>
                <c:pt idx="9">
                  <c:v>2.6</c:v>
                </c:pt>
                <c:pt idx="10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8C3-A042-AE50-6660381E4A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2"/>
        <c:axId val="67451136"/>
        <c:axId val="66437120"/>
      </c:barChart>
      <c:catAx>
        <c:axId val="674511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low"/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1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  <a:effectLst/>
          </c:spPr>
        </c:majorGridlines>
        <c:numFmt formatCode="General" sourceLinked="1"/>
        <c:majorTickMark val="none"/>
        <c:minorTickMark val="none"/>
        <c:tickLblPos val="low"/>
        <c:crossAx val="67451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1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Open Sans" panose="020B0606030504020204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endParaRPr lang="en-US"/>
          </a:p>
        </c:rich>
      </c:tx>
      <c:overlay val="1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ational Football League</c:v>
                </c:pt>
              </c:strCache>
            </c:strRef>
          </c:tx>
          <c:spPr>
            <a:ln w="25400">
              <a:solidFill>
                <a:srgbClr val="509AAF"/>
              </a:solidFill>
            </a:ln>
          </c:spPr>
          <c:marker>
            <c:symbol val="none"/>
          </c:marker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0-BE57-DC49-AB62-C7C562ED3688}"/>
              </c:ext>
            </c:extLst>
          </c:dPt>
          <c:cat>
            <c:strRef>
              <c:f>Sheet1!$A$2:$A$12</c:f>
              <c:strCach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957</c:v>
                </c:pt>
                <c:pt idx="1">
                  <c:v>1037</c:v>
                </c:pt>
                <c:pt idx="2">
                  <c:v>1043</c:v>
                </c:pt>
                <c:pt idx="3">
                  <c:v>1022</c:v>
                </c:pt>
                <c:pt idx="4">
                  <c:v>1036</c:v>
                </c:pt>
                <c:pt idx="5">
                  <c:v>1107</c:v>
                </c:pt>
                <c:pt idx="6">
                  <c:v>1165</c:v>
                </c:pt>
                <c:pt idx="7">
                  <c:v>1428</c:v>
                </c:pt>
                <c:pt idx="8">
                  <c:v>1965</c:v>
                </c:pt>
                <c:pt idx="9">
                  <c:v>2338</c:v>
                </c:pt>
                <c:pt idx="10">
                  <c:v>2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E57-DC49-AB62-C7C562ED368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jor League Baseball</c:v>
                </c:pt>
              </c:strCache>
            </c:strRef>
          </c:tx>
          <c:spPr>
            <a:ln>
              <a:solidFill>
                <a:srgbClr val="612C83"/>
              </a:solidFill>
            </a:ln>
          </c:spPr>
          <c:marker>
            <c:symbol val="none"/>
          </c:marker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2-BE57-DC49-AB62-C7C562ED3688}"/>
              </c:ext>
            </c:extLst>
          </c:dPt>
          <c:cat>
            <c:strRef>
              <c:f>Sheet1!$A$2:$A$12</c:f>
              <c:strCach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431</c:v>
                </c:pt>
                <c:pt idx="1">
                  <c:v>472</c:v>
                </c:pt>
                <c:pt idx="2">
                  <c:v>480</c:v>
                </c:pt>
                <c:pt idx="3">
                  <c:v>491</c:v>
                </c:pt>
                <c:pt idx="4">
                  <c:v>523</c:v>
                </c:pt>
                <c:pt idx="5">
                  <c:v>605</c:v>
                </c:pt>
                <c:pt idx="6">
                  <c:v>744</c:v>
                </c:pt>
                <c:pt idx="7">
                  <c:v>811</c:v>
                </c:pt>
                <c:pt idx="8">
                  <c:v>1200</c:v>
                </c:pt>
                <c:pt idx="9">
                  <c:v>1288</c:v>
                </c:pt>
                <c:pt idx="10">
                  <c:v>15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E57-DC49-AB62-C7C562ED368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ational Basketball Association</c:v>
                </c:pt>
              </c:strCache>
            </c:strRef>
          </c:tx>
          <c:spPr>
            <a:ln>
              <a:solidFill>
                <a:srgbClr val="7DD8C7"/>
              </a:solidFill>
            </a:ln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353</c:v>
                </c:pt>
                <c:pt idx="1">
                  <c:v>372</c:v>
                </c:pt>
                <c:pt idx="2">
                  <c:v>379</c:v>
                </c:pt>
                <c:pt idx="3">
                  <c:v>367</c:v>
                </c:pt>
                <c:pt idx="4">
                  <c:v>369</c:v>
                </c:pt>
                <c:pt idx="5">
                  <c:v>393</c:v>
                </c:pt>
                <c:pt idx="6">
                  <c:v>509</c:v>
                </c:pt>
                <c:pt idx="7">
                  <c:v>634</c:v>
                </c:pt>
                <c:pt idx="8">
                  <c:v>1106</c:v>
                </c:pt>
                <c:pt idx="9">
                  <c:v>1245</c:v>
                </c:pt>
                <c:pt idx="10">
                  <c:v>1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E57-DC49-AB62-C7C562ED368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ational Hockey League</c:v>
                </c:pt>
              </c:strCache>
            </c:strRef>
          </c:tx>
          <c:spPr>
            <a:ln>
              <a:solidFill>
                <a:srgbClr val="F5FFC3"/>
              </a:solidFill>
            </a:ln>
          </c:spPr>
          <c:marker>
            <c:symbol val="none"/>
          </c:marker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5-BE57-DC49-AB62-C7C562ED3688}"/>
              </c:ext>
            </c:extLst>
          </c:dPt>
          <c:cat>
            <c:strRef>
              <c:f>Sheet1!$A$2:$A$12</c:f>
              <c:strCach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0">
                  <c:v>200</c:v>
                </c:pt>
                <c:pt idx="1">
                  <c:v>220</c:v>
                </c:pt>
                <c:pt idx="2">
                  <c:v>223</c:v>
                </c:pt>
                <c:pt idx="3">
                  <c:v>228</c:v>
                </c:pt>
                <c:pt idx="4">
                  <c:v>240</c:v>
                </c:pt>
                <c:pt idx="5">
                  <c:v>282</c:v>
                </c:pt>
                <c:pt idx="6">
                  <c:v>413</c:v>
                </c:pt>
                <c:pt idx="7">
                  <c:v>490</c:v>
                </c:pt>
                <c:pt idx="8">
                  <c:v>505</c:v>
                </c:pt>
                <c:pt idx="9">
                  <c:v>517</c:v>
                </c:pt>
                <c:pt idx="10">
                  <c:v>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E57-DC49-AB62-C7C562ED36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7451136"/>
        <c:axId val="66437120"/>
      </c:lineChart>
      <c:catAx>
        <c:axId val="67451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 w="12700">
            <a:solidFill>
              <a:srgbClr val="509AAF"/>
            </a:solidFill>
          </a:ln>
        </c:spPr>
        <c:txPr>
          <a:bodyPr/>
          <a:lstStyle/>
          <a:p>
            <a:pPr>
              <a:defRPr sz="1000" b="0" smtId="4294967295">
                <a:solidFill>
                  <a:srgbClr val="509AAF"/>
                </a:solidFill>
                <a:latin typeface="IBM Plex Sans Medium" panose="020B0603050203000203" pitchFamily="34" charset="0"/>
              </a:defRPr>
            </a:pPr>
            <a:endParaRPr lang="en-US"/>
          </a:p>
        </c:txPr>
        <c:crossAx val="66437120"/>
        <c:crosses val="autoZero"/>
        <c:auto val="0"/>
        <c:lblAlgn val="ctr"/>
        <c:lblOffset val="100"/>
        <c:noMultiLvlLbl val="0"/>
      </c:catAx>
      <c:valAx>
        <c:axId val="66437120"/>
        <c:scaling>
          <c:orientation val="minMax"/>
          <c:min val="0"/>
        </c:scaling>
        <c:delete val="0"/>
        <c:axPos val="l"/>
        <c:majorGridlines>
          <c:spPr>
            <a:ln w="12700">
              <a:solidFill>
                <a:schemeClr val="bg2"/>
              </a:solidFill>
            </a:ln>
          </c:spPr>
        </c:majorGridlines>
        <c:numFmt formatCode="General" sourceLinked="1"/>
        <c:majorTickMark val="none"/>
        <c:minorTickMark val="none"/>
        <c:tickLblPos val="low"/>
        <c:spPr>
          <a:ln>
            <a:noFill/>
          </a:ln>
        </c:spPr>
        <c:txPr>
          <a:bodyPr/>
          <a:lstStyle/>
          <a:p>
            <a:pPr>
              <a:defRPr sz="1000" b="0" smtId="4294967295">
                <a:solidFill>
                  <a:srgbClr val="509AAF"/>
                </a:solidFill>
                <a:latin typeface="IBM Plex Sans Medium" panose="020B0603050203000203" pitchFamily="34" charset="0"/>
              </a:defRPr>
            </a:pPr>
            <a:endParaRPr lang="en-US"/>
          </a:p>
        </c:txPr>
        <c:crossAx val="67451136"/>
        <c:crosses val="autoZero"/>
        <c:crossBetween val="midCat"/>
      </c:valAx>
    </c:plotArea>
    <c:plotVisOnly val="1"/>
    <c:dispBlanksAs val="zero"/>
    <c:showDLblsOverMax val="1"/>
  </c:chart>
  <c:txPr>
    <a:bodyPr/>
    <a:lstStyle/>
    <a:p>
      <a:pPr>
        <a:defRPr sz="1800" smtId="4294967295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2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182683" cy="2782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668" tIns="47148" rIns="90668" bIns="47148" numCol="1" anchor="t" anchorCtr="0" compatLnSpc="1">
            <a:prstTxWarp prst="textNoShape">
              <a:avLst/>
            </a:prstTxWarp>
            <a:spAutoFit/>
          </a:bodyPr>
          <a:lstStyle>
            <a:lvl1pPr algn="l" defTabSz="920615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6597663" y="0"/>
            <a:ext cx="182683" cy="2782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668" tIns="47148" rIns="90668" bIns="47148" numCol="1" anchor="t" anchorCtr="0" compatLnSpc="1">
            <a:prstTxWarp prst="textNoShape">
              <a:avLst/>
            </a:prstTxWarp>
            <a:spAutoFit/>
          </a:bodyPr>
          <a:lstStyle>
            <a:lvl1pPr algn="r" defTabSz="920615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32120"/>
            <a:ext cx="182683" cy="2782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668" tIns="47148" rIns="90668" bIns="47148" numCol="1" anchor="b" anchorCtr="0" compatLnSpc="1">
            <a:prstTxWarp prst="textNoShape">
              <a:avLst/>
            </a:prstTxWarp>
            <a:spAutoFit/>
          </a:bodyPr>
          <a:lstStyle>
            <a:lvl1pPr algn="l" defTabSz="920615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09687" y="9630439"/>
            <a:ext cx="370659" cy="2798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668" tIns="47148" rIns="90668" bIns="47148" numCol="1" anchor="b" anchorCtr="0" compatLnSpc="1">
            <a:prstTxWarp prst="textNoShape">
              <a:avLst/>
            </a:prstTxWarp>
            <a:spAutoFit/>
          </a:bodyPr>
          <a:lstStyle>
            <a:lvl1pPr algn="r" defTabSz="920615">
              <a:spcBef>
                <a:spcPct val="0"/>
              </a:spcBef>
              <a:defRPr b="1"/>
            </a:lvl1pPr>
          </a:lstStyle>
          <a:p>
            <a:fld id="{759B724C-78FC-4698-BDE4-19F15588D530}" type="slidenum">
              <a:rPr lang="da-DK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628533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7429" cy="49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62" tIns="45930" rIns="91862" bIns="45930" numCol="1" anchor="t" anchorCtr="0" compatLnSpc="1">
            <a:prstTxWarp prst="textNoShape">
              <a:avLst/>
            </a:prstTxWarp>
          </a:bodyPr>
          <a:lstStyle>
            <a:lvl1pPr algn="l" defTabSz="917412">
              <a:spcBef>
                <a:spcPct val="0"/>
              </a:spcBef>
              <a:defRPr/>
            </a:lvl1pPr>
          </a:lstStyle>
          <a:p>
            <a:endParaRPr lang="en-GB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7072" y="1"/>
            <a:ext cx="2947429" cy="49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62" tIns="45930" rIns="91862" bIns="45930" numCol="1" anchor="t" anchorCtr="0" compatLnSpc="1">
            <a:prstTxWarp prst="textNoShape">
              <a:avLst/>
            </a:prstTxWarp>
          </a:bodyPr>
          <a:lstStyle>
            <a:lvl1pPr algn="r" defTabSz="917412">
              <a:spcBef>
                <a:spcPct val="0"/>
              </a:spcBef>
              <a:defRPr/>
            </a:lvl1pPr>
          </a:lstStyle>
          <a:p>
            <a:endParaRPr lang="en-GB" dirty="0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9613" y="744538"/>
            <a:ext cx="537845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0907" y="4715186"/>
            <a:ext cx="5382125" cy="1089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Klik for at redigere teksttypografien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5236"/>
            <a:ext cx="2947429" cy="49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62" tIns="45930" rIns="91862" bIns="45930" numCol="1" anchor="b" anchorCtr="0" compatLnSpc="1">
            <a:prstTxWarp prst="textNoShape">
              <a:avLst/>
            </a:prstTxWarp>
          </a:bodyPr>
          <a:lstStyle>
            <a:lvl1pPr algn="l" defTabSz="917412">
              <a:spcBef>
                <a:spcPct val="0"/>
              </a:spcBef>
              <a:defRPr/>
            </a:lvl1pPr>
          </a:lstStyle>
          <a:p>
            <a:endParaRPr lang="en-GB" dirty="0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7072" y="9435236"/>
            <a:ext cx="2947429" cy="49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62" tIns="45930" rIns="91862" bIns="45930" numCol="1" anchor="b" anchorCtr="0" compatLnSpc="1">
            <a:prstTxWarp prst="textNoShape">
              <a:avLst/>
            </a:prstTxWarp>
          </a:bodyPr>
          <a:lstStyle>
            <a:lvl1pPr algn="r" defTabSz="917412">
              <a:spcBef>
                <a:spcPct val="0"/>
              </a:spcBef>
              <a:defRPr/>
            </a:lvl1pPr>
          </a:lstStyle>
          <a:p>
            <a:fld id="{1D57CA6B-6BE3-424D-A16A-79990923526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53675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5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136525" indent="-134938" algn="l" rtl="0" eaLnBrk="0" fontAlgn="base" hangingPunct="0">
      <a:spcBef>
        <a:spcPct val="50000"/>
      </a:spcBef>
      <a:spcAft>
        <a:spcPct val="0"/>
      </a:spcAft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85750" indent="-147638" algn="l" rtl="0" eaLnBrk="0" fontAlgn="base" hangingPunct="0">
      <a:spcBef>
        <a:spcPct val="50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422275" indent="-134938" algn="l" rtl="0" eaLnBrk="0" fontAlgn="base" hangingPunct="0">
      <a:spcBef>
        <a:spcPct val="50000"/>
      </a:spcBef>
      <a:spcAft>
        <a:spcPct val="0"/>
      </a:spcAft>
      <a:buChar char="·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571500" indent="-147638" algn="l" rtl="0" eaLnBrk="0" fontAlgn="base" hangingPunct="0">
      <a:spcBef>
        <a:spcPct val="50000"/>
      </a:spcBef>
      <a:spcAft>
        <a:spcPct val="0"/>
      </a:spcAft>
      <a:buChar char="»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7876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1F6685-18E4-42C6-9DE6-03B17B9A1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41A5A4-C9A9-40A1-A0B2-2F0ACC7DE2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2399" y="6356350"/>
            <a:ext cx="378000" cy="190800"/>
          </a:xfrm>
          <a:prstGeom prst="rect">
            <a:avLst/>
          </a:prstGeom>
        </p:spPr>
        <p:txBody>
          <a:bodyPr/>
          <a:lstStyle/>
          <a:p>
            <a:fld id="{66AFC10B-F707-4E2E-A165-AA17571AEF0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0A202B8-2B66-8F42-B99A-FF95187B34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47275" y="6593488"/>
            <a:ext cx="3142800" cy="136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900">
                <a:solidFill>
                  <a:srgbClr val="7DD8C7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900" spc="100" dirty="0">
              <a:solidFill>
                <a:srgbClr val="7DD8C7"/>
              </a:solidFill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6598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372F0-CD9F-B447-BF66-CCBC502AB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4A4651-E7F4-F847-9A07-7615576214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4292A2-C371-4A90-A5CC-38E01B82EA6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A56C44A-5AE6-AC43-818E-99212868E0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7392" y="726856"/>
            <a:ext cx="3988800" cy="183600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US" spc="100" dirty="0">
              <a:solidFill>
                <a:srgbClr val="107AAB"/>
              </a:solidFill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E12DC57-D021-274C-B00C-E129DB5882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513" y="6506116"/>
            <a:ext cx="3142800" cy="136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 sz="900">
                <a:solidFill>
                  <a:srgbClr val="05405E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0545943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372F0-CD9F-B447-BF66-CCBC502AB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4A4651-E7F4-F847-9A07-7615576214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4292A2-C371-4A90-A5CC-38E01B82EA6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A56C44A-5AE6-AC43-818E-99212868E0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7392" y="726856"/>
            <a:ext cx="3988800" cy="183600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US" spc="100" dirty="0">
              <a:solidFill>
                <a:srgbClr val="107AAB"/>
              </a:solidFill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E12DC57-D021-274C-B00C-E129DB5882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513" y="6506116"/>
            <a:ext cx="3142800" cy="136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 sz="900">
                <a:solidFill>
                  <a:srgbClr val="05405E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36979881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025135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1093" name="Rectangle 6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57D2D77-B9BE-4E52-AA15-03429B98053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tx2"/>
              </a:solidFill>
              <a:latin typeface="IBM Plex Sans SemiBold" panose="020B0703050203000203" pitchFamily="34" charset="0"/>
              <a:ea typeface="+mn-ea"/>
              <a:cs typeface="Poppins Black" panose="00000A00000000000000" pitchFamily="2" charset="0"/>
              <a:sym typeface="IBM Plex Sans SemiBold" panose="020B0703050203000203" pitchFamily="34" charset="0"/>
            </a:endParaRPr>
          </a:p>
        </p:txBody>
      </p:sp>
      <p:sp>
        <p:nvSpPr>
          <p:cNvPr id="3" name="[WorkArea]" descr="&lt;?xml version=&quot;1.0&quot; encoding=&quot;utf-16&quot;?&gt;&#10;&lt;GridTheme xmlns:xsd=&quot;http://www.w3.org/2001/XMLSchema&quot; xmlns:xsi=&quot;http://www.w3.org/2001/XMLSchema-instance&quot;&gt;&#10;  &lt;GuideLines /&gt;&#10;  &lt;WorkArea&gt;&#10;    &lt;Top&gt;94.12504&lt;/Top&gt;&#10;    &lt;Left&gt;32.87504&lt;/Left&gt;&#10;    &lt;Width&gt;714.374939&lt;/Width&gt;&#10;    &lt;Height&gt;388.374969&lt;/Height&gt;&#10;  &lt;/WorkArea&gt;&#10;  &lt;AspectW&gt;-1&lt;/AspectW&gt;&#10;  &lt;AspectH&gt;-1&lt;/AspectH&gt;&#10;  &lt;Width&gt;780&lt;/Width&gt;&#10;  &lt;Height&gt;540&lt;/Height&gt;&#10;  &lt;HGap&gt;5&lt;/HGap&gt;&#10;  &lt;VGap&gt;5&lt;/VGap&gt;&#10;  &lt;OfficeVersion&gt;-1&lt;/OfficeVersion&gt;&#10;&lt;/GridTheme&gt;" hidden="1"/>
          <p:cNvSpPr/>
          <p:nvPr userDrawn="1"/>
        </p:nvSpPr>
        <p:spPr bwMode="auto">
          <a:xfrm>
            <a:off x="417513" y="1195388"/>
            <a:ext cx="9072562" cy="4932362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2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A39A20-80A6-4069-9C97-426C4B5153C9}"/>
              </a:ext>
            </a:extLst>
          </p:cNvPr>
          <p:cNvSpPr txBox="1"/>
          <p:nvPr userDrawn="1"/>
        </p:nvSpPr>
        <p:spPr>
          <a:xfrm>
            <a:off x="417513" y="134956"/>
            <a:ext cx="2039937" cy="374571"/>
          </a:xfrm>
          <a:prstGeom prst="roundRect">
            <a:avLst/>
          </a:prstGeom>
          <a:noFill/>
          <a:ln w="12700">
            <a:solidFill>
              <a:srgbClr val="612C83"/>
            </a:solidFill>
          </a:ln>
        </p:spPr>
        <p:txBody>
          <a:bodyPr wrap="square" lIns="182880" rtlCol="0">
            <a:spAutoFit/>
          </a:bodyPr>
          <a:lstStyle/>
          <a:p>
            <a:pPr algn="l"/>
            <a:r>
              <a:rPr lang="en-US" sz="1600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Executive Advisor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09C4C58-F676-44F7-8162-7FCCA3EF79FD}"/>
              </a:ext>
            </a:extLst>
          </p:cNvPr>
          <p:cNvSpPr/>
          <p:nvPr userDrawn="1"/>
        </p:nvSpPr>
        <p:spPr bwMode="auto">
          <a:xfrm>
            <a:off x="417513" y="1214399"/>
            <a:ext cx="547016" cy="204311"/>
          </a:xfrm>
          <a:prstGeom prst="roundRect">
            <a:avLst/>
          </a:prstGeom>
          <a:solidFill>
            <a:srgbClr val="612C83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EBE8D96-1F9F-4862-84B8-4326461C4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61932"/>
            <a:ext cx="8543925" cy="539750"/>
          </a:xfrm>
          <a:prstGeom prst="rect">
            <a:avLst/>
          </a:prstGeom>
        </p:spPr>
        <p:txBody>
          <a:bodyPr vert="horz" lIns="182880" tIns="45720" rIns="182880" bIns="45720" rtlCol="0" anchor="t" anchorCtr="0">
            <a:normAutofit/>
          </a:bodyPr>
          <a:lstStyle/>
          <a:p>
            <a:r>
              <a:rPr lang="en-US" dirty="0"/>
              <a:t>Title goes here in IBM </a:t>
            </a:r>
            <a:r>
              <a:rPr lang="en-US" dirty="0" err="1"/>
              <a:t>SemiBold</a:t>
            </a:r>
            <a:r>
              <a:rPr lang="en-US" dirty="0"/>
              <a:t> size24</a:t>
            </a:r>
            <a:endParaRPr lang="de-DE" dirty="0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93DA38CC-FDC4-974F-A8CC-D1E7E56462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2399" y="6356350"/>
            <a:ext cx="378000" cy="190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7DD8C7"/>
                </a:solidFill>
              </a:defRPr>
            </a:lvl1pPr>
          </a:lstStyle>
          <a:p>
            <a:fld id="{66AFC10B-F707-4E2E-A165-AA17571AEF08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</p:sldLayoutIdLst>
  <p:transition>
    <p:fade/>
  </p:transition>
  <p:hf hdr="0" ftr="0" dt="0"/>
  <p:txStyles>
    <p:titleStyle>
      <a:lvl1pPr algn="l" rtl="0" eaLnBrk="1" fontAlgn="base" hangingPunct="1">
        <a:spcBef>
          <a:spcPct val="50000"/>
        </a:spcBef>
        <a:spcAft>
          <a:spcPct val="0"/>
        </a:spcAft>
        <a:defRPr lang="de-DE" sz="2400" b="0" kern="1200" dirty="0">
          <a:solidFill>
            <a:srgbClr val="509AAF"/>
          </a:solidFill>
          <a:latin typeface="IBM Plex Sans SemiBold" panose="020B0703050203000203" pitchFamily="34" charset="0"/>
          <a:ea typeface="+mn-ea"/>
          <a:cs typeface="Poppins Black" panose="00000A00000000000000" pitchFamily="2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50000"/>
        </a:spcBef>
        <a:spcAft>
          <a:spcPct val="0"/>
        </a:spcAft>
        <a:defRPr sz="1200">
          <a:solidFill>
            <a:srgbClr val="000000"/>
          </a:solidFill>
          <a:latin typeface="Raleway" panose="020B0503030101060003" pitchFamily="34" charset="0"/>
          <a:ea typeface="+mn-ea"/>
          <a:cs typeface="+mn-cs"/>
        </a:defRPr>
      </a:lvl1pPr>
      <a:lvl2pPr marL="136525" indent="-134938" algn="l" rtl="0" eaLnBrk="1" fontAlgn="base" hangingPunct="1">
        <a:spcBef>
          <a:spcPct val="50000"/>
        </a:spcBef>
        <a:spcAft>
          <a:spcPct val="0"/>
        </a:spcAft>
        <a:buChar char="•"/>
        <a:defRPr sz="1200">
          <a:solidFill>
            <a:srgbClr val="000000"/>
          </a:solidFill>
          <a:latin typeface="Raleway" panose="020B0503030101060003" pitchFamily="34" charset="0"/>
        </a:defRPr>
      </a:lvl2pPr>
      <a:lvl3pPr marL="285750" indent="-147638" algn="l" rtl="0" eaLnBrk="1" fontAlgn="base" hangingPunct="1">
        <a:spcBef>
          <a:spcPct val="50000"/>
        </a:spcBef>
        <a:spcAft>
          <a:spcPct val="0"/>
        </a:spcAft>
        <a:buChar char="–"/>
        <a:defRPr sz="1200">
          <a:solidFill>
            <a:srgbClr val="000000"/>
          </a:solidFill>
          <a:latin typeface="Raleway" panose="020B0503030101060003" pitchFamily="34" charset="0"/>
        </a:defRPr>
      </a:lvl3pPr>
      <a:lvl4pPr marL="422275" indent="-134938" algn="l" rtl="0" eaLnBrk="1" fontAlgn="base" hangingPunct="1">
        <a:spcBef>
          <a:spcPct val="50000"/>
        </a:spcBef>
        <a:spcAft>
          <a:spcPct val="0"/>
        </a:spcAft>
        <a:buChar char="·"/>
        <a:defRPr sz="1200">
          <a:solidFill>
            <a:srgbClr val="000000"/>
          </a:solidFill>
          <a:latin typeface="Raleway" panose="020B0503030101060003" pitchFamily="34" charset="0"/>
        </a:defRPr>
      </a:lvl4pPr>
      <a:lvl5pPr marL="5715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rgbClr val="000000"/>
          </a:solidFill>
          <a:latin typeface="Raleway" panose="020B0503030101060003" pitchFamily="34" charset="0"/>
        </a:defRPr>
      </a:lvl5pPr>
      <a:lvl6pPr marL="10287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14859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31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3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63" userDrawn="1">
          <p15:clr>
            <a:srgbClr val="F26B43"/>
          </p15:clr>
        </p15:guide>
        <p15:guide id="2" pos="5978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4197" userDrawn="1">
          <p15:clr>
            <a:srgbClr val="F26B43"/>
          </p15:clr>
        </p15:guide>
        <p15:guide id="5" pos="3120" userDrawn="1">
          <p15:clr>
            <a:srgbClr val="F26B43"/>
          </p15:clr>
        </p15:guide>
        <p15:guide id="6" orient="horz" pos="3959" userDrawn="1">
          <p15:clr>
            <a:srgbClr val="F26B43"/>
          </p15:clr>
        </p15:guide>
        <p15:guide id="7" orient="horz" pos="958" userDrawn="1">
          <p15:clr>
            <a:srgbClr val="F26B43"/>
          </p15:clr>
        </p15:guide>
        <p15:guide id="8" pos="2961" userDrawn="1">
          <p15:clr>
            <a:srgbClr val="F26B43"/>
          </p15:clr>
        </p15:guide>
        <p15:guide id="9" pos="32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26" Type="http://schemas.openxmlformats.org/officeDocument/2006/relationships/image" Target="../media/image35.svg"/><Relationship Id="rId3" Type="http://schemas.openxmlformats.org/officeDocument/2006/relationships/chart" Target="../charts/chart4.xml"/><Relationship Id="rId21" Type="http://schemas.openxmlformats.org/officeDocument/2006/relationships/image" Target="../media/image30.png"/><Relationship Id="rId7" Type="http://schemas.openxmlformats.org/officeDocument/2006/relationships/image" Target="../media/image16.png"/><Relationship Id="rId12" Type="http://schemas.openxmlformats.org/officeDocument/2006/relationships/image" Target="../media/image21.gif"/><Relationship Id="rId17" Type="http://schemas.openxmlformats.org/officeDocument/2006/relationships/image" Target="../media/image26.svg"/><Relationship Id="rId25" Type="http://schemas.openxmlformats.org/officeDocument/2006/relationships/image" Target="../media/image34.png"/><Relationship Id="rId2" Type="http://schemas.openxmlformats.org/officeDocument/2006/relationships/chart" Target="../charts/chart3.xml"/><Relationship Id="rId16" Type="http://schemas.openxmlformats.org/officeDocument/2006/relationships/image" Target="../media/image25.png"/><Relationship Id="rId20" Type="http://schemas.openxmlformats.org/officeDocument/2006/relationships/image" Target="../media/image29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24" Type="http://schemas.openxmlformats.org/officeDocument/2006/relationships/image" Target="../media/image33.svg"/><Relationship Id="rId5" Type="http://schemas.openxmlformats.org/officeDocument/2006/relationships/image" Target="../media/image14.png"/><Relationship Id="rId15" Type="http://schemas.openxmlformats.org/officeDocument/2006/relationships/image" Target="../media/image24.svg"/><Relationship Id="rId23" Type="http://schemas.openxmlformats.org/officeDocument/2006/relationships/image" Target="../media/image32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chart" Target="../charts/chart5.xml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svg"/><Relationship Id="rId18" Type="http://schemas.openxmlformats.org/officeDocument/2006/relationships/image" Target="../media/image46.png"/><Relationship Id="rId3" Type="http://schemas.openxmlformats.org/officeDocument/2006/relationships/image" Target="../media/image37.svg"/><Relationship Id="rId21" Type="http://schemas.openxmlformats.org/officeDocument/2006/relationships/image" Target="../media/image49.svg"/><Relationship Id="rId7" Type="http://schemas.openxmlformats.org/officeDocument/2006/relationships/image" Target="../media/image41.svg"/><Relationship Id="rId12" Type="http://schemas.openxmlformats.org/officeDocument/2006/relationships/image" Target="../media/image7.png"/><Relationship Id="rId17" Type="http://schemas.openxmlformats.org/officeDocument/2006/relationships/image" Target="../media/image45.svg"/><Relationship Id="rId2" Type="http://schemas.openxmlformats.org/officeDocument/2006/relationships/image" Target="../media/image36.png"/><Relationship Id="rId16" Type="http://schemas.openxmlformats.org/officeDocument/2006/relationships/image" Target="../media/image44.png"/><Relationship Id="rId20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11" Type="http://schemas.openxmlformats.org/officeDocument/2006/relationships/image" Target="../media/image6.svg"/><Relationship Id="rId5" Type="http://schemas.openxmlformats.org/officeDocument/2006/relationships/image" Target="../media/image39.svg"/><Relationship Id="rId15" Type="http://schemas.openxmlformats.org/officeDocument/2006/relationships/image" Target="../media/image43.svg"/><Relationship Id="rId10" Type="http://schemas.openxmlformats.org/officeDocument/2006/relationships/image" Target="../media/image5.png"/><Relationship Id="rId19" Type="http://schemas.openxmlformats.org/officeDocument/2006/relationships/image" Target="../media/image47.svg"/><Relationship Id="rId4" Type="http://schemas.openxmlformats.org/officeDocument/2006/relationships/image" Target="../media/image38.png"/><Relationship Id="rId9" Type="http://schemas.openxmlformats.org/officeDocument/2006/relationships/image" Target="../media/image4.svg"/><Relationship Id="rId14" Type="http://schemas.openxmlformats.org/officeDocument/2006/relationships/image" Target="../media/image4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microsoft.com/office/2007/relationships/hdphoto" Target="../media/hdphoto2.wdp"/><Relationship Id="rId7" Type="http://schemas.openxmlformats.org/officeDocument/2006/relationships/image" Target="../media/image53.jpe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chart" Target="../charts/char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svg"/><Relationship Id="rId7" Type="http://schemas.openxmlformats.org/officeDocument/2006/relationships/image" Target="../media/image60.sv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5" Type="http://schemas.openxmlformats.org/officeDocument/2006/relationships/image" Target="../media/image58.svg"/><Relationship Id="rId4" Type="http://schemas.openxmlformats.org/officeDocument/2006/relationships/image" Target="../media/image57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2.svg"/><Relationship Id="rId4" Type="http://schemas.openxmlformats.org/officeDocument/2006/relationships/image" Target="../media/image6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1597" name="Object 1091596" hidden="1">
            <a:extLst>
              <a:ext uri="{FF2B5EF4-FFF2-40B4-BE49-F238E27FC236}">
                <a16:creationId xmlns:a16="http://schemas.microsoft.com/office/drawing/2014/main" id="{D647CDB1-A949-4963-953A-1FFF0E589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8766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91597" name="Object 1091596" hidden="1">
                        <a:extLst>
                          <a:ext uri="{FF2B5EF4-FFF2-40B4-BE49-F238E27FC236}">
                            <a16:creationId xmlns:a16="http://schemas.microsoft.com/office/drawing/2014/main" id="{D647CDB1-A949-4963-953A-1FFF0E589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052701DA-2610-4D31-B1B1-7EDC46BADFC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E8711FB-17BD-472A-BD98-2FE8F3173AC3}"/>
              </a:ext>
            </a:extLst>
          </p:cNvPr>
          <p:cNvSpPr/>
          <p:nvPr/>
        </p:nvSpPr>
        <p:spPr bwMode="auto">
          <a:xfrm>
            <a:off x="1" y="-1"/>
            <a:ext cx="9906000" cy="6858001"/>
          </a:xfrm>
          <a:prstGeom prst="rect">
            <a:avLst/>
          </a:prstGeom>
          <a:gradFill>
            <a:gsLst>
              <a:gs pos="0">
                <a:srgbClr val="509AAF">
                  <a:alpha val="80000"/>
                </a:srgbClr>
              </a:gs>
              <a:gs pos="100000">
                <a:srgbClr val="612C83">
                  <a:alpha val="80000"/>
                </a:srgbClr>
              </a:gs>
            </a:gsLst>
            <a:lin ang="0" scaled="1"/>
          </a:gra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34AE26D-CC9F-47BF-A9A1-710F96A7BC28}"/>
              </a:ext>
            </a:extLst>
          </p:cNvPr>
          <p:cNvSpPr txBox="1"/>
          <p:nvPr/>
        </p:nvSpPr>
        <p:spPr>
          <a:xfrm>
            <a:off x="7471681" y="227576"/>
            <a:ext cx="2016595" cy="374571"/>
          </a:xfrm>
          <a:prstGeom prst="roundRect">
            <a:avLst/>
          </a:prstGeom>
          <a:noFill/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Executive Advisors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FA1400F0-82CB-4D93-A084-3633CD2C8AA3}"/>
              </a:ext>
            </a:extLst>
          </p:cNvPr>
          <p:cNvSpPr/>
          <p:nvPr/>
        </p:nvSpPr>
        <p:spPr bwMode="auto">
          <a:xfrm>
            <a:off x="417513" y="4039790"/>
            <a:ext cx="547016" cy="204311"/>
          </a:xfrm>
          <a:prstGeom prst="roundRect">
            <a:avLst/>
          </a:prstGeom>
          <a:solidFill>
            <a:srgbClr val="F5FFC3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F67BA80-6C68-4A95-932A-D083B9463CFF}"/>
              </a:ext>
            </a:extLst>
          </p:cNvPr>
          <p:cNvSpPr txBox="1"/>
          <p:nvPr/>
        </p:nvSpPr>
        <p:spPr>
          <a:xfrm>
            <a:off x="417513" y="4350721"/>
            <a:ext cx="7672387" cy="120032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lang="en-US" sz="3600" dirty="0">
                <a:solidFill>
                  <a:schemeClr val="bg1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  <a:t>Client guidelines example</a:t>
            </a:r>
            <a:br>
              <a:rPr lang="en-US" sz="3600" dirty="0">
                <a:solidFill>
                  <a:schemeClr val="bg1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</a:br>
            <a:r>
              <a:rPr lang="en-US" sz="3600" dirty="0">
                <a:solidFill>
                  <a:schemeClr val="bg1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  <a:t>Name of client: </a:t>
            </a:r>
            <a:r>
              <a:rPr lang="en-US" sz="3600" dirty="0">
                <a:solidFill>
                  <a:srgbClr val="F5FFC3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  <a:t>Executive Advisors</a:t>
            </a:r>
          </a:p>
        </p:txBody>
      </p:sp>
    </p:spTree>
    <p:extLst>
      <p:ext uri="{BB962C8B-B14F-4D97-AF65-F5344CB8AC3E}">
        <p14:creationId xmlns:p14="http://schemas.microsoft.com/office/powerpoint/2010/main" val="417187710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ypeface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36DA42-848D-5445-BCED-FCA2A26BF1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pc="1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5" name="Rectangle: Rounded Corners 2">
            <a:extLst>
              <a:ext uri="{FF2B5EF4-FFF2-40B4-BE49-F238E27FC236}">
                <a16:creationId xmlns:a16="http://schemas.microsoft.com/office/drawing/2014/main" id="{6E1CD838-2211-F349-A5DD-A875725858DA}"/>
              </a:ext>
            </a:extLst>
          </p:cNvPr>
          <p:cNvSpPr/>
          <p:nvPr/>
        </p:nvSpPr>
        <p:spPr bwMode="auto">
          <a:xfrm>
            <a:off x="417513" y="1524000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Body </a:t>
            </a:r>
            <a:r>
              <a:rPr lang="da-DK" b="1" dirty="0" err="1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text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: Rounded Corners 21">
            <a:extLst>
              <a:ext uri="{FF2B5EF4-FFF2-40B4-BE49-F238E27FC236}">
                <a16:creationId xmlns:a16="http://schemas.microsoft.com/office/drawing/2014/main" id="{00BB018B-3D1D-634D-B7F3-B004BF7D3CD5}"/>
              </a:ext>
            </a:extLst>
          </p:cNvPr>
          <p:cNvSpPr/>
          <p:nvPr/>
        </p:nvSpPr>
        <p:spPr bwMode="auto">
          <a:xfrm>
            <a:off x="5193384" y="1524000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 err="1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Quotes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6C6D09-5A7D-D946-9CE3-52C13F866941}"/>
              </a:ext>
            </a:extLst>
          </p:cNvPr>
          <p:cNvSpPr txBox="1"/>
          <p:nvPr/>
        </p:nvSpPr>
        <p:spPr>
          <a:xfrm>
            <a:off x="417513" y="2085986"/>
            <a:ext cx="2566987" cy="230832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All body text is IBM Plex Sans light</a:t>
            </a:r>
          </a:p>
        </p:txBody>
      </p:sp>
      <p:sp>
        <p:nvSpPr>
          <p:cNvPr id="8" name="Rectangle: Rounded Corners 19">
            <a:extLst>
              <a:ext uri="{FF2B5EF4-FFF2-40B4-BE49-F238E27FC236}">
                <a16:creationId xmlns:a16="http://schemas.microsoft.com/office/drawing/2014/main" id="{28DB12E2-B26A-2940-AA32-DD8DE33CD8E7}"/>
              </a:ext>
            </a:extLst>
          </p:cNvPr>
          <p:cNvSpPr/>
          <p:nvPr/>
        </p:nvSpPr>
        <p:spPr bwMode="auto">
          <a:xfrm>
            <a:off x="417513" y="2636182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Highlighted tex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E3AA5C-0C3C-2643-BECC-42928842AACC}"/>
              </a:ext>
            </a:extLst>
          </p:cNvPr>
          <p:cNvSpPr txBox="1"/>
          <p:nvPr/>
        </p:nvSpPr>
        <p:spPr>
          <a:xfrm>
            <a:off x="417513" y="3198168"/>
            <a:ext cx="3811587" cy="230832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612C83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Highlighted text is IBM Plex light bolded in Purple</a:t>
            </a:r>
          </a:p>
        </p:txBody>
      </p:sp>
      <p:sp>
        <p:nvSpPr>
          <p:cNvPr id="10" name="Rectangle: Rounded Corners 31">
            <a:extLst>
              <a:ext uri="{FF2B5EF4-FFF2-40B4-BE49-F238E27FC236}">
                <a16:creationId xmlns:a16="http://schemas.microsoft.com/office/drawing/2014/main" id="{B37E5C89-1EE1-0243-B1D6-A08D06A83C40}"/>
              </a:ext>
            </a:extLst>
          </p:cNvPr>
          <p:cNvSpPr/>
          <p:nvPr/>
        </p:nvSpPr>
        <p:spPr bwMode="auto">
          <a:xfrm>
            <a:off x="417513" y="3748364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Title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A6157C-99FE-154F-BBBB-9A0DF8F942C1}"/>
              </a:ext>
            </a:extLst>
          </p:cNvPr>
          <p:cNvSpPr txBox="1"/>
          <p:nvPr/>
        </p:nvSpPr>
        <p:spPr>
          <a:xfrm>
            <a:off x="417513" y="4310350"/>
            <a:ext cx="2566987" cy="230832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IBM </a:t>
            </a:r>
            <a:r>
              <a:rPr lang="en-US" dirty="0" err="1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SemiBold</a:t>
            </a: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 size 24  </a:t>
            </a:r>
          </a:p>
        </p:txBody>
      </p:sp>
      <p:sp>
        <p:nvSpPr>
          <p:cNvPr id="12" name="Rectangle: Rounded Corners 33">
            <a:extLst>
              <a:ext uri="{FF2B5EF4-FFF2-40B4-BE49-F238E27FC236}">
                <a16:creationId xmlns:a16="http://schemas.microsoft.com/office/drawing/2014/main" id="{1BBEBBFA-890C-CA42-A351-CFF8FDF5828E}"/>
              </a:ext>
            </a:extLst>
          </p:cNvPr>
          <p:cNvSpPr/>
          <p:nvPr/>
        </p:nvSpPr>
        <p:spPr bwMode="auto">
          <a:xfrm>
            <a:off x="417513" y="4858008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 err="1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Headers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6621AEC-AB8F-E946-AA8C-F6753FA26C97}"/>
              </a:ext>
            </a:extLst>
          </p:cNvPr>
          <p:cNvSpPr txBox="1"/>
          <p:nvPr/>
        </p:nvSpPr>
        <p:spPr>
          <a:xfrm>
            <a:off x="417513" y="5419994"/>
            <a:ext cx="3569271" cy="230832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All header  text is IBM Plex Sans Medium</a:t>
            </a:r>
          </a:p>
        </p:txBody>
      </p:sp>
      <p:sp>
        <p:nvSpPr>
          <p:cNvPr id="14" name="Rectangle: Rounded Corners 1">
            <a:extLst>
              <a:ext uri="{FF2B5EF4-FFF2-40B4-BE49-F238E27FC236}">
                <a16:creationId xmlns:a16="http://schemas.microsoft.com/office/drawing/2014/main" id="{5E5EAF63-2A9F-9248-83A6-B4B2878A9D8C}"/>
              </a:ext>
            </a:extLst>
          </p:cNvPr>
          <p:cNvSpPr/>
          <p:nvPr/>
        </p:nvSpPr>
        <p:spPr bwMode="auto">
          <a:xfrm>
            <a:off x="5194300" y="1981718"/>
            <a:ext cx="4295775" cy="1150070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4DD209-BE99-844A-A954-B62EC89236BD}"/>
              </a:ext>
            </a:extLst>
          </p:cNvPr>
          <p:cNvSpPr txBox="1"/>
          <p:nvPr/>
        </p:nvSpPr>
        <p:spPr>
          <a:xfrm>
            <a:off x="6121628" y="2287449"/>
            <a:ext cx="2877435" cy="538609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sz="1600" b="1" i="1" dirty="0">
                <a:solidFill>
                  <a:srgbClr val="612C83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This is an example of somebody saying something smar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87335A91-FBB9-1149-8501-BCD2CD30DF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59628" y="2177726"/>
            <a:ext cx="7620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25301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/>
              <a:t>Graphs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36DA42-848D-5445-BCED-FCA2A26BF1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pc="1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5" name="Rectangle: Rounded Corners 2">
            <a:extLst>
              <a:ext uri="{FF2B5EF4-FFF2-40B4-BE49-F238E27FC236}">
                <a16:creationId xmlns:a16="http://schemas.microsoft.com/office/drawing/2014/main" id="{DCCD54FC-18F8-4045-B3DD-EDCC106BDEEC}"/>
              </a:ext>
            </a:extLst>
          </p:cNvPr>
          <p:cNvSpPr/>
          <p:nvPr/>
        </p:nvSpPr>
        <p:spPr bwMode="auto">
          <a:xfrm>
            <a:off x="417513" y="1524000"/>
            <a:ext cx="9072562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Bar Graph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: Rounded Corners 1">
            <a:extLst>
              <a:ext uri="{FF2B5EF4-FFF2-40B4-BE49-F238E27FC236}">
                <a16:creationId xmlns:a16="http://schemas.microsoft.com/office/drawing/2014/main" id="{FC79D005-3455-DA4A-993A-E3AB9E3F905D}"/>
              </a:ext>
            </a:extLst>
          </p:cNvPr>
          <p:cNvSpPr/>
          <p:nvPr/>
        </p:nvSpPr>
        <p:spPr bwMode="auto">
          <a:xfrm>
            <a:off x="417514" y="1981717"/>
            <a:ext cx="9072562" cy="1961633"/>
          </a:xfrm>
          <a:prstGeom prst="roundRect">
            <a:avLst>
              <a:gd name="adj" fmla="val 4303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6EA610C-C64B-D445-BC58-46C1D10FEA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6818557"/>
              </p:ext>
            </p:extLst>
          </p:nvPr>
        </p:nvGraphicFramePr>
        <p:xfrm>
          <a:off x="417513" y="2036212"/>
          <a:ext cx="9072561" cy="2359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ctangle: Rounded Corners 3">
            <a:extLst>
              <a:ext uri="{FF2B5EF4-FFF2-40B4-BE49-F238E27FC236}">
                <a16:creationId xmlns:a16="http://schemas.microsoft.com/office/drawing/2014/main" id="{10E8517D-EBBE-3A4B-995C-D3DA278CF6A8}"/>
              </a:ext>
            </a:extLst>
          </p:cNvPr>
          <p:cNvSpPr/>
          <p:nvPr/>
        </p:nvSpPr>
        <p:spPr bwMode="auto">
          <a:xfrm>
            <a:off x="3632200" y="2505075"/>
            <a:ext cx="473075" cy="1094002"/>
          </a:xfrm>
          <a:prstGeom prst="roundRect">
            <a:avLst>
              <a:gd name="adj" fmla="val 6863"/>
            </a:avLst>
          </a:prstGeom>
          <a:noFill/>
          <a:ln w="25400">
            <a:solidFill>
              <a:srgbClr val="612C83"/>
            </a:solidFill>
            <a:prstDash val="dash"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9" name="Rectangle: Rounded Corners 22">
            <a:extLst>
              <a:ext uri="{FF2B5EF4-FFF2-40B4-BE49-F238E27FC236}">
                <a16:creationId xmlns:a16="http://schemas.microsoft.com/office/drawing/2014/main" id="{71D3393F-BE8A-604C-B326-2CBB83C613D4}"/>
              </a:ext>
            </a:extLst>
          </p:cNvPr>
          <p:cNvSpPr/>
          <p:nvPr/>
        </p:nvSpPr>
        <p:spPr bwMode="auto">
          <a:xfrm>
            <a:off x="6270721" y="2176743"/>
            <a:ext cx="109970" cy="105958"/>
          </a:xfrm>
          <a:prstGeom prst="roundRect">
            <a:avLst/>
          </a:prstGeom>
          <a:noFill/>
          <a:ln w="25400">
            <a:solidFill>
              <a:srgbClr val="612C83"/>
            </a:solidFill>
            <a:prstDash val="dash"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DBCACF9-B7A5-8543-B872-7944885167AD}"/>
              </a:ext>
            </a:extLst>
          </p:cNvPr>
          <p:cNvSpPr txBox="1"/>
          <p:nvPr/>
        </p:nvSpPr>
        <p:spPr>
          <a:xfrm>
            <a:off x="6369050" y="2094710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dirty="0">
                <a:solidFill>
                  <a:srgbClr val="509AAF"/>
                </a:solidFill>
                <a:latin typeface="IBM Plex Sans Medium" panose="020B0603050203000203" pitchFamily="34" charset="0"/>
              </a:rPr>
              <a:t>Highlight</a:t>
            </a:r>
            <a:endParaRPr lang="de-DE" dirty="0">
              <a:solidFill>
                <a:srgbClr val="509AAF"/>
              </a:solidFill>
              <a:latin typeface="IBM Plex Sans Medium" panose="020B0603050203000203" pitchFamily="34" charset="0"/>
            </a:endParaRPr>
          </a:p>
        </p:txBody>
      </p:sp>
      <p:sp>
        <p:nvSpPr>
          <p:cNvPr id="11" name="Rectangle: Rounded Corners 23">
            <a:extLst>
              <a:ext uri="{FF2B5EF4-FFF2-40B4-BE49-F238E27FC236}">
                <a16:creationId xmlns:a16="http://schemas.microsoft.com/office/drawing/2014/main" id="{D7901F4D-8A47-C846-80C6-750FAEECE00E}"/>
              </a:ext>
            </a:extLst>
          </p:cNvPr>
          <p:cNvSpPr/>
          <p:nvPr/>
        </p:nvSpPr>
        <p:spPr bwMode="auto">
          <a:xfrm>
            <a:off x="417513" y="4025382"/>
            <a:ext cx="9072562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Bar Graph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: Rounded Corners 26">
            <a:extLst>
              <a:ext uri="{FF2B5EF4-FFF2-40B4-BE49-F238E27FC236}">
                <a16:creationId xmlns:a16="http://schemas.microsoft.com/office/drawing/2014/main" id="{0592A313-02CD-FC47-8A09-90233310F5FE}"/>
              </a:ext>
            </a:extLst>
          </p:cNvPr>
          <p:cNvSpPr/>
          <p:nvPr/>
        </p:nvSpPr>
        <p:spPr bwMode="auto">
          <a:xfrm>
            <a:off x="417513" y="4487048"/>
            <a:ext cx="9072561" cy="1791204"/>
          </a:xfrm>
          <a:prstGeom prst="roundRect">
            <a:avLst>
              <a:gd name="adj" fmla="val 4303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9CAAE1A4-3A44-A241-953B-3E6547B19A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7318284"/>
              </p:ext>
            </p:extLst>
          </p:nvPr>
        </p:nvGraphicFramePr>
        <p:xfrm>
          <a:off x="417513" y="4562548"/>
          <a:ext cx="9070973" cy="1723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6420256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: Rounded Corners 85">
            <a:extLst>
              <a:ext uri="{FF2B5EF4-FFF2-40B4-BE49-F238E27FC236}">
                <a16:creationId xmlns:a16="http://schemas.microsoft.com/office/drawing/2014/main" id="{3D121065-C83D-A140-BDB8-6010C78D9556}"/>
              </a:ext>
            </a:extLst>
          </p:cNvPr>
          <p:cNvSpPr/>
          <p:nvPr/>
        </p:nvSpPr>
        <p:spPr bwMode="auto">
          <a:xfrm>
            <a:off x="5216011" y="1953150"/>
            <a:ext cx="4276644" cy="1887954"/>
          </a:xfrm>
          <a:prstGeom prst="roundRect">
            <a:avLst>
              <a:gd name="adj" fmla="val 4303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graphicFrame>
        <p:nvGraphicFramePr>
          <p:cNvPr id="46" name="ChartObject">
            <a:extLst>
              <a:ext uri="{FF2B5EF4-FFF2-40B4-BE49-F238E27FC236}">
                <a16:creationId xmlns:a16="http://schemas.microsoft.com/office/drawing/2014/main" id="{67D58829-E51D-D145-AB39-E5CB7BB426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4074127"/>
              </p:ext>
            </p:extLst>
          </p:nvPr>
        </p:nvGraphicFramePr>
        <p:xfrm>
          <a:off x="5102771" y="1858831"/>
          <a:ext cx="4389884" cy="1977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lient inspiration 1/4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36DA42-848D-5445-BCED-FCA2A26BF1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pc="1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5" name="Rectangle: Rounded Corners 86">
            <a:extLst>
              <a:ext uri="{FF2B5EF4-FFF2-40B4-BE49-F238E27FC236}">
                <a16:creationId xmlns:a16="http://schemas.microsoft.com/office/drawing/2014/main" id="{36039563-7583-AC48-B2C4-0361483BD6CC}"/>
              </a:ext>
            </a:extLst>
          </p:cNvPr>
          <p:cNvSpPr/>
          <p:nvPr/>
        </p:nvSpPr>
        <p:spPr bwMode="auto">
          <a:xfrm>
            <a:off x="5194098" y="4390298"/>
            <a:ext cx="4294187" cy="1887954"/>
          </a:xfrm>
          <a:prstGeom prst="roundRect">
            <a:avLst>
              <a:gd name="adj" fmla="val 4303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Rectangle: Rounded Corners 85">
            <a:extLst>
              <a:ext uri="{FF2B5EF4-FFF2-40B4-BE49-F238E27FC236}">
                <a16:creationId xmlns:a16="http://schemas.microsoft.com/office/drawing/2014/main" id="{EE8104AD-C0B1-B542-B3E6-72CF4820F6CA}"/>
              </a:ext>
            </a:extLst>
          </p:cNvPr>
          <p:cNvSpPr/>
          <p:nvPr/>
        </p:nvSpPr>
        <p:spPr bwMode="auto">
          <a:xfrm>
            <a:off x="417513" y="1948842"/>
            <a:ext cx="4294187" cy="1887954"/>
          </a:xfrm>
          <a:prstGeom prst="roundRect">
            <a:avLst>
              <a:gd name="adj" fmla="val 4303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" name="Rectangle: Rounded Corners 84">
            <a:extLst>
              <a:ext uri="{FF2B5EF4-FFF2-40B4-BE49-F238E27FC236}">
                <a16:creationId xmlns:a16="http://schemas.microsoft.com/office/drawing/2014/main" id="{A33851E8-1C5E-1C49-96E8-ED7F74E850AF}"/>
              </a:ext>
            </a:extLst>
          </p:cNvPr>
          <p:cNvSpPr/>
          <p:nvPr/>
        </p:nvSpPr>
        <p:spPr bwMode="auto">
          <a:xfrm>
            <a:off x="417513" y="4390298"/>
            <a:ext cx="4294187" cy="1887954"/>
          </a:xfrm>
          <a:prstGeom prst="roundRect">
            <a:avLst>
              <a:gd name="adj" fmla="val 4303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4236AE88-DA29-4B49-A144-88639C884CE8}"/>
              </a:ext>
            </a:extLst>
          </p:cNvPr>
          <p:cNvSpPr/>
          <p:nvPr/>
        </p:nvSpPr>
        <p:spPr>
          <a:xfrm>
            <a:off x="790576" y="5091325"/>
            <a:ext cx="3733800" cy="575893"/>
          </a:xfrm>
          <a:custGeom>
            <a:avLst/>
            <a:gdLst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0 w 3577700"/>
              <a:gd name="connsiteY3" fmla="*/ 534951 h 534951"/>
              <a:gd name="connsiteX4" fmla="*/ 267476 w 3577700"/>
              <a:gd name="connsiteY4" fmla="*/ 267476 h 534951"/>
              <a:gd name="connsiteX5" fmla="*/ 0 w 3577700"/>
              <a:gd name="connsiteY5" fmla="*/ 0 h 534951"/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0 w 3577700"/>
              <a:gd name="connsiteY3" fmla="*/ 534951 h 534951"/>
              <a:gd name="connsiteX4" fmla="*/ 157861 w 3577700"/>
              <a:gd name="connsiteY4" fmla="*/ 267476 h 534951"/>
              <a:gd name="connsiteX5" fmla="*/ 0 w 3577700"/>
              <a:gd name="connsiteY5" fmla="*/ 0 h 534951"/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33727 w 3577700"/>
              <a:gd name="connsiteY3" fmla="*/ 534951 h 534951"/>
              <a:gd name="connsiteX4" fmla="*/ 157861 w 3577700"/>
              <a:gd name="connsiteY4" fmla="*/ 267476 h 534951"/>
              <a:gd name="connsiteX5" fmla="*/ 0 w 3577700"/>
              <a:gd name="connsiteY5" fmla="*/ 0 h 534951"/>
              <a:gd name="connsiteX0" fmla="*/ 0 w 3543973"/>
              <a:gd name="connsiteY0" fmla="*/ 8756 h 534951"/>
              <a:gd name="connsiteX1" fmla="*/ 3543973 w 3543973"/>
              <a:gd name="connsiteY1" fmla="*/ 0 h 534951"/>
              <a:gd name="connsiteX2" fmla="*/ 3543973 w 3543973"/>
              <a:gd name="connsiteY2" fmla="*/ 534951 h 534951"/>
              <a:gd name="connsiteX3" fmla="*/ 0 w 3543973"/>
              <a:gd name="connsiteY3" fmla="*/ 534951 h 534951"/>
              <a:gd name="connsiteX4" fmla="*/ 124134 w 3543973"/>
              <a:gd name="connsiteY4" fmla="*/ 267476 h 534951"/>
              <a:gd name="connsiteX5" fmla="*/ 0 w 3543973"/>
              <a:gd name="connsiteY5" fmla="*/ 8756 h 534951"/>
              <a:gd name="connsiteX0" fmla="*/ 0 w 3543973"/>
              <a:gd name="connsiteY0" fmla="*/ 8756 h 534951"/>
              <a:gd name="connsiteX1" fmla="*/ 3543973 w 3543973"/>
              <a:gd name="connsiteY1" fmla="*/ 0 h 534951"/>
              <a:gd name="connsiteX2" fmla="*/ 3543973 w 3543973"/>
              <a:gd name="connsiteY2" fmla="*/ 534951 h 534951"/>
              <a:gd name="connsiteX3" fmla="*/ 0 w 3543973"/>
              <a:gd name="connsiteY3" fmla="*/ 534951 h 534951"/>
              <a:gd name="connsiteX4" fmla="*/ 124134 w 3543973"/>
              <a:gd name="connsiteY4" fmla="*/ 267476 h 534951"/>
              <a:gd name="connsiteX5" fmla="*/ 0 w 3543973"/>
              <a:gd name="connsiteY5" fmla="*/ 8756 h 534951"/>
              <a:gd name="connsiteX0" fmla="*/ 0 w 3552405"/>
              <a:gd name="connsiteY0" fmla="*/ 0 h 534952"/>
              <a:gd name="connsiteX1" fmla="*/ 3552405 w 3552405"/>
              <a:gd name="connsiteY1" fmla="*/ 1 h 534952"/>
              <a:gd name="connsiteX2" fmla="*/ 3552405 w 3552405"/>
              <a:gd name="connsiteY2" fmla="*/ 534952 h 534952"/>
              <a:gd name="connsiteX3" fmla="*/ 8432 w 3552405"/>
              <a:gd name="connsiteY3" fmla="*/ 534952 h 534952"/>
              <a:gd name="connsiteX4" fmla="*/ 132566 w 3552405"/>
              <a:gd name="connsiteY4" fmla="*/ 267477 h 534952"/>
              <a:gd name="connsiteX5" fmla="*/ 0 w 3552405"/>
              <a:gd name="connsiteY5" fmla="*/ 0 h 534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52405" h="534952">
                <a:moveTo>
                  <a:pt x="0" y="0"/>
                </a:moveTo>
                <a:lnTo>
                  <a:pt x="3552405" y="1"/>
                </a:lnTo>
                <a:lnTo>
                  <a:pt x="3552405" y="534952"/>
                </a:lnTo>
                <a:lnTo>
                  <a:pt x="8432" y="534952"/>
                </a:lnTo>
                <a:lnTo>
                  <a:pt x="132566" y="26747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rtlCol="0" anchor="ctr">
            <a:noAutofit/>
          </a:bodyPr>
          <a:lstStyle/>
          <a:p>
            <a:pPr algn="l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Subscribers to Netflix in the US is almost </a:t>
            </a:r>
            <a:r>
              <a:rPr lang="en-GB" sz="1000" b="1" dirty="0">
                <a:solidFill>
                  <a:srgbClr val="509AAF"/>
                </a:solidFill>
                <a:latin typeface="IBM Plex Sans Medium" panose="020B0603050203000203" pitchFamily="34" charset="0"/>
              </a:rPr>
              <a:t>9x</a:t>
            </a: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 the number of UK monthly users. </a:t>
            </a:r>
          </a:p>
        </p:txBody>
      </p:sp>
      <p:sp>
        <p:nvSpPr>
          <p:cNvPr id="9" name="Freeform: Shape 20">
            <a:extLst>
              <a:ext uri="{FF2B5EF4-FFF2-40B4-BE49-F238E27FC236}">
                <a16:creationId xmlns:a16="http://schemas.microsoft.com/office/drawing/2014/main" id="{6EA919A8-D680-6B4E-A27F-A31DF6D4D566}"/>
              </a:ext>
            </a:extLst>
          </p:cNvPr>
          <p:cNvSpPr/>
          <p:nvPr/>
        </p:nvSpPr>
        <p:spPr>
          <a:xfrm>
            <a:off x="790576" y="5657384"/>
            <a:ext cx="3733800" cy="575893"/>
          </a:xfrm>
          <a:custGeom>
            <a:avLst/>
            <a:gdLst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0 w 3577700"/>
              <a:gd name="connsiteY3" fmla="*/ 534951 h 534951"/>
              <a:gd name="connsiteX4" fmla="*/ 267476 w 3577700"/>
              <a:gd name="connsiteY4" fmla="*/ 267476 h 534951"/>
              <a:gd name="connsiteX5" fmla="*/ 0 w 3577700"/>
              <a:gd name="connsiteY5" fmla="*/ 0 h 534951"/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0 w 3577700"/>
              <a:gd name="connsiteY3" fmla="*/ 534951 h 534951"/>
              <a:gd name="connsiteX4" fmla="*/ 157861 w 3577700"/>
              <a:gd name="connsiteY4" fmla="*/ 267476 h 534951"/>
              <a:gd name="connsiteX5" fmla="*/ 0 w 3577700"/>
              <a:gd name="connsiteY5" fmla="*/ 0 h 534951"/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33727 w 3577700"/>
              <a:gd name="connsiteY3" fmla="*/ 534951 h 534951"/>
              <a:gd name="connsiteX4" fmla="*/ 157861 w 3577700"/>
              <a:gd name="connsiteY4" fmla="*/ 267476 h 534951"/>
              <a:gd name="connsiteX5" fmla="*/ 0 w 3577700"/>
              <a:gd name="connsiteY5" fmla="*/ 0 h 534951"/>
              <a:gd name="connsiteX0" fmla="*/ 0 w 3543973"/>
              <a:gd name="connsiteY0" fmla="*/ 8756 h 534951"/>
              <a:gd name="connsiteX1" fmla="*/ 3543973 w 3543973"/>
              <a:gd name="connsiteY1" fmla="*/ 0 h 534951"/>
              <a:gd name="connsiteX2" fmla="*/ 3543973 w 3543973"/>
              <a:gd name="connsiteY2" fmla="*/ 534951 h 534951"/>
              <a:gd name="connsiteX3" fmla="*/ 0 w 3543973"/>
              <a:gd name="connsiteY3" fmla="*/ 534951 h 534951"/>
              <a:gd name="connsiteX4" fmla="*/ 124134 w 3543973"/>
              <a:gd name="connsiteY4" fmla="*/ 267476 h 534951"/>
              <a:gd name="connsiteX5" fmla="*/ 0 w 3543973"/>
              <a:gd name="connsiteY5" fmla="*/ 8756 h 534951"/>
              <a:gd name="connsiteX0" fmla="*/ 0 w 3543973"/>
              <a:gd name="connsiteY0" fmla="*/ 8756 h 534951"/>
              <a:gd name="connsiteX1" fmla="*/ 3543973 w 3543973"/>
              <a:gd name="connsiteY1" fmla="*/ 0 h 534951"/>
              <a:gd name="connsiteX2" fmla="*/ 3543973 w 3543973"/>
              <a:gd name="connsiteY2" fmla="*/ 534951 h 534951"/>
              <a:gd name="connsiteX3" fmla="*/ 0 w 3543973"/>
              <a:gd name="connsiteY3" fmla="*/ 534951 h 534951"/>
              <a:gd name="connsiteX4" fmla="*/ 124134 w 3543973"/>
              <a:gd name="connsiteY4" fmla="*/ 267476 h 534951"/>
              <a:gd name="connsiteX5" fmla="*/ 0 w 3543973"/>
              <a:gd name="connsiteY5" fmla="*/ 8756 h 534951"/>
              <a:gd name="connsiteX0" fmla="*/ 0 w 3552405"/>
              <a:gd name="connsiteY0" fmla="*/ 0 h 534952"/>
              <a:gd name="connsiteX1" fmla="*/ 3552405 w 3552405"/>
              <a:gd name="connsiteY1" fmla="*/ 1 h 534952"/>
              <a:gd name="connsiteX2" fmla="*/ 3552405 w 3552405"/>
              <a:gd name="connsiteY2" fmla="*/ 534952 h 534952"/>
              <a:gd name="connsiteX3" fmla="*/ 8432 w 3552405"/>
              <a:gd name="connsiteY3" fmla="*/ 534952 h 534952"/>
              <a:gd name="connsiteX4" fmla="*/ 132566 w 3552405"/>
              <a:gd name="connsiteY4" fmla="*/ 267477 h 534952"/>
              <a:gd name="connsiteX5" fmla="*/ 0 w 3552405"/>
              <a:gd name="connsiteY5" fmla="*/ 0 h 534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52405" h="534952">
                <a:moveTo>
                  <a:pt x="0" y="0"/>
                </a:moveTo>
                <a:lnTo>
                  <a:pt x="3552405" y="1"/>
                </a:lnTo>
                <a:lnTo>
                  <a:pt x="3552405" y="534952"/>
                </a:lnTo>
                <a:lnTo>
                  <a:pt x="8432" y="534952"/>
                </a:lnTo>
                <a:lnTo>
                  <a:pt x="132566" y="26747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rtlCol="0" anchor="ctr">
            <a:noAutofit/>
          </a:bodyPr>
          <a:lstStyle/>
          <a:p>
            <a:pPr algn="l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Netflix subscribers in the US has </a:t>
            </a:r>
            <a:r>
              <a:rPr lang="en-GB" sz="1000" b="1" dirty="0">
                <a:solidFill>
                  <a:srgbClr val="509AAF"/>
                </a:solidFill>
                <a:latin typeface="IBM Plex Sans Medium" panose="020B0603050203000203" pitchFamily="34" charset="0"/>
              </a:rPr>
              <a:t>more than doubled </a:t>
            </a: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over the last 6 years</a:t>
            </a:r>
          </a:p>
        </p:txBody>
      </p:sp>
      <p:graphicFrame>
        <p:nvGraphicFramePr>
          <p:cNvPr id="11" name="ChartObject">
            <a:extLst>
              <a:ext uri="{FF2B5EF4-FFF2-40B4-BE49-F238E27FC236}">
                <a16:creationId xmlns:a16="http://schemas.microsoft.com/office/drawing/2014/main" id="{D0BAAAFE-0CA2-3F47-81D0-BCC1CBC890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29532411"/>
              </p:ext>
            </p:extLst>
          </p:nvPr>
        </p:nvGraphicFramePr>
        <p:xfrm>
          <a:off x="5207015" y="4499472"/>
          <a:ext cx="4285640" cy="1670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angle: Rounded Corners 29">
            <a:extLst>
              <a:ext uri="{FF2B5EF4-FFF2-40B4-BE49-F238E27FC236}">
                <a16:creationId xmlns:a16="http://schemas.microsoft.com/office/drawing/2014/main" id="{91CDB967-9D0A-9B4D-AA67-15D14977C38B}"/>
              </a:ext>
            </a:extLst>
          </p:cNvPr>
          <p:cNvSpPr/>
          <p:nvPr/>
        </p:nvSpPr>
        <p:spPr>
          <a:xfrm>
            <a:off x="5194299" y="4006250"/>
            <a:ext cx="4306903" cy="457200"/>
          </a:xfrm>
          <a:prstGeom prst="roundRect">
            <a:avLst/>
          </a:prstGeom>
          <a:solidFill>
            <a:srgbClr val="509AAF"/>
          </a:solidFill>
        </p:spPr>
        <p:txBody>
          <a:bodyPr wrap="square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000" b="1" dirty="0">
                <a:solidFill>
                  <a:schemeClr val="bg1"/>
                </a:solidFill>
                <a:latin typeface="IBM Plex Sans Medium" panose="020B0603050203000203" pitchFamily="34" charset="0"/>
              </a:rPr>
              <a:t>Number of Netflix streaming subscribers in the United States from 3rd quarter 2011 to 3rd quarter 2017 (in millions)</a:t>
            </a:r>
          </a:p>
        </p:txBody>
      </p:sp>
      <p:sp>
        <p:nvSpPr>
          <p:cNvPr id="14" name="Rectangle: Rounded Corners 31">
            <a:extLst>
              <a:ext uri="{FF2B5EF4-FFF2-40B4-BE49-F238E27FC236}">
                <a16:creationId xmlns:a16="http://schemas.microsoft.com/office/drawing/2014/main" id="{97CE6CA3-45BC-D548-BA9D-50E0D7646799}"/>
              </a:ext>
            </a:extLst>
          </p:cNvPr>
          <p:cNvSpPr/>
          <p:nvPr/>
        </p:nvSpPr>
        <p:spPr>
          <a:xfrm>
            <a:off x="5207015" y="1520888"/>
            <a:ext cx="4285640" cy="457200"/>
          </a:xfrm>
          <a:prstGeom prst="roundRect">
            <a:avLst/>
          </a:prstGeom>
          <a:solidFill>
            <a:srgbClr val="509AAF"/>
          </a:solidFill>
        </p:spPr>
        <p:txBody>
          <a:bodyPr wrap="square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000" b="1" dirty="0">
                <a:solidFill>
                  <a:schemeClr val="bg1"/>
                </a:solidFill>
                <a:latin typeface="IBM Plex Sans Medium" panose="020B0603050203000203" pitchFamily="34" charset="0"/>
              </a:rPr>
              <a:t>Share of consumers who have a subscription to an on-demand video service in the United States in 2016 and 2017</a:t>
            </a:r>
          </a:p>
        </p:txBody>
      </p:sp>
      <p:sp>
        <p:nvSpPr>
          <p:cNvPr id="15" name="Isosceles Triangle 32">
            <a:extLst>
              <a:ext uri="{FF2B5EF4-FFF2-40B4-BE49-F238E27FC236}">
                <a16:creationId xmlns:a16="http://schemas.microsoft.com/office/drawing/2014/main" id="{66DF6C87-EE0D-0B41-B2CF-B64B9FB2D62F}"/>
              </a:ext>
            </a:extLst>
          </p:cNvPr>
          <p:cNvSpPr/>
          <p:nvPr/>
        </p:nvSpPr>
        <p:spPr bwMode="auto">
          <a:xfrm>
            <a:off x="5182452" y="3605875"/>
            <a:ext cx="4318750" cy="400375"/>
          </a:xfrm>
          <a:prstGeom prst="triangle">
            <a:avLst>
              <a:gd name="adj" fmla="val 14578"/>
            </a:avLst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rgbClr val="612C83"/>
              </a:gs>
            </a:gsLst>
            <a:lin ang="16200000" scaled="1"/>
          </a:gradFill>
          <a:ln w="12700">
            <a:noFill/>
            <a:round/>
            <a:headEnd/>
            <a:tailEnd/>
          </a:ln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da-DK">
              <a:latin typeface="+mj-lt"/>
            </a:endParaRPr>
          </a:p>
        </p:txBody>
      </p:sp>
      <p:graphicFrame>
        <p:nvGraphicFramePr>
          <p:cNvPr id="16" name="ChartObject">
            <a:extLst>
              <a:ext uri="{FF2B5EF4-FFF2-40B4-BE49-F238E27FC236}">
                <a16:creationId xmlns:a16="http://schemas.microsoft.com/office/drawing/2014/main" id="{05957CA1-25F1-4E4A-8C95-9D94185474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8207738"/>
              </p:ext>
            </p:extLst>
          </p:nvPr>
        </p:nvGraphicFramePr>
        <p:xfrm>
          <a:off x="480888" y="1920998"/>
          <a:ext cx="4238374" cy="1977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Rectangle: Rounded Corners 35">
            <a:extLst>
              <a:ext uri="{FF2B5EF4-FFF2-40B4-BE49-F238E27FC236}">
                <a16:creationId xmlns:a16="http://schemas.microsoft.com/office/drawing/2014/main" id="{B4B6F7C6-0BD0-4B49-949A-BBB9731EB801}"/>
              </a:ext>
            </a:extLst>
          </p:cNvPr>
          <p:cNvSpPr/>
          <p:nvPr/>
        </p:nvSpPr>
        <p:spPr>
          <a:xfrm>
            <a:off x="417514" y="1520888"/>
            <a:ext cx="4292752" cy="457200"/>
          </a:xfrm>
          <a:prstGeom prst="roundRect">
            <a:avLst/>
          </a:prstGeom>
          <a:solidFill>
            <a:srgbClr val="509AAF"/>
          </a:solidFill>
        </p:spPr>
        <p:txBody>
          <a:bodyPr wrap="square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000" b="1" dirty="0">
                <a:solidFill>
                  <a:schemeClr val="bg1"/>
                </a:solidFill>
                <a:latin typeface="IBM Plex Sans Medium" panose="020B0603050203000203" pitchFamily="34" charset="0"/>
              </a:rPr>
              <a:t>Leading video streaming online services in the United Kingdom (UK) as of August 2016, based on monthly unique users (in millions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7DE572-5A0C-EA45-B90B-EE9CF6813E40}"/>
              </a:ext>
            </a:extLst>
          </p:cNvPr>
          <p:cNvSpPr txBox="1"/>
          <p:nvPr/>
        </p:nvSpPr>
        <p:spPr>
          <a:xfrm>
            <a:off x="5770992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201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EB84410-5DDD-6945-93C1-F490B5126705}"/>
              </a:ext>
            </a:extLst>
          </p:cNvPr>
          <p:cNvSpPr txBox="1"/>
          <p:nvPr/>
        </p:nvSpPr>
        <p:spPr>
          <a:xfrm>
            <a:off x="6364159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201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B608714-0FAA-4D4E-9A25-EC1108F20DCC}"/>
              </a:ext>
            </a:extLst>
          </p:cNvPr>
          <p:cNvSpPr txBox="1"/>
          <p:nvPr/>
        </p:nvSpPr>
        <p:spPr>
          <a:xfrm>
            <a:off x="6957326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201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0C6C4AA-7AC5-8847-A2DB-A0EF176F891F}"/>
              </a:ext>
            </a:extLst>
          </p:cNvPr>
          <p:cNvSpPr txBox="1"/>
          <p:nvPr/>
        </p:nvSpPr>
        <p:spPr>
          <a:xfrm>
            <a:off x="7550493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201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A45D5C4-F6D9-A845-B1EC-AB31FEDE5162}"/>
              </a:ext>
            </a:extLst>
          </p:cNvPr>
          <p:cNvSpPr txBox="1"/>
          <p:nvPr/>
        </p:nvSpPr>
        <p:spPr>
          <a:xfrm>
            <a:off x="8736825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2017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F9AE73A-3BB6-E442-B7E0-CE70C5F0B52A}"/>
              </a:ext>
            </a:extLst>
          </p:cNvPr>
          <p:cNvSpPr txBox="1"/>
          <p:nvPr/>
        </p:nvSpPr>
        <p:spPr>
          <a:xfrm>
            <a:off x="8143660" y="6054811"/>
            <a:ext cx="352425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2016</a:t>
            </a:r>
          </a:p>
        </p:txBody>
      </p:sp>
      <p:sp>
        <p:nvSpPr>
          <p:cNvPr id="24" name="Rectangle: Rounded Corners 42">
            <a:extLst>
              <a:ext uri="{FF2B5EF4-FFF2-40B4-BE49-F238E27FC236}">
                <a16:creationId xmlns:a16="http://schemas.microsoft.com/office/drawing/2014/main" id="{F3B4A0FE-52E7-8547-B477-77ABD6395218}"/>
              </a:ext>
            </a:extLst>
          </p:cNvPr>
          <p:cNvSpPr/>
          <p:nvPr/>
        </p:nvSpPr>
        <p:spPr bwMode="auto">
          <a:xfrm>
            <a:off x="417715" y="4006250"/>
            <a:ext cx="4292550" cy="457200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83077" tIns="43200" rIns="83077" bIns="43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b="1" dirty="0">
                <a:solidFill>
                  <a:schemeClr val="bg1"/>
                </a:solidFill>
                <a:latin typeface="IBM Plex Sans Medium" panose="020B0603050203000203" pitchFamily="34" charset="0"/>
              </a:rPr>
              <a:t>Highlights</a:t>
            </a:r>
            <a:endParaRPr lang="en-GB" sz="1000" b="1" dirty="0">
              <a:solidFill>
                <a:schemeClr val="bg1"/>
              </a:solidFill>
              <a:latin typeface="IBM Plex Sans Medium" panose="020B0603050203000203" pitchFamily="34" charset="0"/>
            </a:endParaRPr>
          </a:p>
        </p:txBody>
      </p:sp>
      <p:sp>
        <p:nvSpPr>
          <p:cNvPr id="25" name="Freeform: Shape 43">
            <a:extLst>
              <a:ext uri="{FF2B5EF4-FFF2-40B4-BE49-F238E27FC236}">
                <a16:creationId xmlns:a16="http://schemas.microsoft.com/office/drawing/2014/main" id="{319D5890-AF75-F149-AFB9-18F61CFE7FC0}"/>
              </a:ext>
            </a:extLst>
          </p:cNvPr>
          <p:cNvSpPr/>
          <p:nvPr/>
        </p:nvSpPr>
        <p:spPr>
          <a:xfrm>
            <a:off x="790576" y="4525266"/>
            <a:ext cx="3733800" cy="575893"/>
          </a:xfrm>
          <a:custGeom>
            <a:avLst/>
            <a:gdLst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0 w 3577700"/>
              <a:gd name="connsiteY3" fmla="*/ 534951 h 534951"/>
              <a:gd name="connsiteX4" fmla="*/ 267476 w 3577700"/>
              <a:gd name="connsiteY4" fmla="*/ 267476 h 534951"/>
              <a:gd name="connsiteX5" fmla="*/ 0 w 3577700"/>
              <a:gd name="connsiteY5" fmla="*/ 0 h 534951"/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0 w 3577700"/>
              <a:gd name="connsiteY3" fmla="*/ 534951 h 534951"/>
              <a:gd name="connsiteX4" fmla="*/ 157861 w 3577700"/>
              <a:gd name="connsiteY4" fmla="*/ 267476 h 534951"/>
              <a:gd name="connsiteX5" fmla="*/ 0 w 3577700"/>
              <a:gd name="connsiteY5" fmla="*/ 0 h 534951"/>
              <a:gd name="connsiteX0" fmla="*/ 0 w 3577700"/>
              <a:gd name="connsiteY0" fmla="*/ 0 h 534951"/>
              <a:gd name="connsiteX1" fmla="*/ 3577700 w 3577700"/>
              <a:gd name="connsiteY1" fmla="*/ 0 h 534951"/>
              <a:gd name="connsiteX2" fmla="*/ 3577700 w 3577700"/>
              <a:gd name="connsiteY2" fmla="*/ 534951 h 534951"/>
              <a:gd name="connsiteX3" fmla="*/ 33727 w 3577700"/>
              <a:gd name="connsiteY3" fmla="*/ 534951 h 534951"/>
              <a:gd name="connsiteX4" fmla="*/ 157861 w 3577700"/>
              <a:gd name="connsiteY4" fmla="*/ 267476 h 534951"/>
              <a:gd name="connsiteX5" fmla="*/ 0 w 3577700"/>
              <a:gd name="connsiteY5" fmla="*/ 0 h 534951"/>
              <a:gd name="connsiteX0" fmla="*/ 0 w 3543973"/>
              <a:gd name="connsiteY0" fmla="*/ 8756 h 534951"/>
              <a:gd name="connsiteX1" fmla="*/ 3543973 w 3543973"/>
              <a:gd name="connsiteY1" fmla="*/ 0 h 534951"/>
              <a:gd name="connsiteX2" fmla="*/ 3543973 w 3543973"/>
              <a:gd name="connsiteY2" fmla="*/ 534951 h 534951"/>
              <a:gd name="connsiteX3" fmla="*/ 0 w 3543973"/>
              <a:gd name="connsiteY3" fmla="*/ 534951 h 534951"/>
              <a:gd name="connsiteX4" fmla="*/ 124134 w 3543973"/>
              <a:gd name="connsiteY4" fmla="*/ 267476 h 534951"/>
              <a:gd name="connsiteX5" fmla="*/ 0 w 3543973"/>
              <a:gd name="connsiteY5" fmla="*/ 8756 h 534951"/>
              <a:gd name="connsiteX0" fmla="*/ 0 w 3543973"/>
              <a:gd name="connsiteY0" fmla="*/ 8756 h 534951"/>
              <a:gd name="connsiteX1" fmla="*/ 3543973 w 3543973"/>
              <a:gd name="connsiteY1" fmla="*/ 0 h 534951"/>
              <a:gd name="connsiteX2" fmla="*/ 3543973 w 3543973"/>
              <a:gd name="connsiteY2" fmla="*/ 534951 h 534951"/>
              <a:gd name="connsiteX3" fmla="*/ 0 w 3543973"/>
              <a:gd name="connsiteY3" fmla="*/ 534951 h 534951"/>
              <a:gd name="connsiteX4" fmla="*/ 124134 w 3543973"/>
              <a:gd name="connsiteY4" fmla="*/ 267476 h 534951"/>
              <a:gd name="connsiteX5" fmla="*/ 0 w 3543973"/>
              <a:gd name="connsiteY5" fmla="*/ 8756 h 534951"/>
              <a:gd name="connsiteX0" fmla="*/ 0 w 3552405"/>
              <a:gd name="connsiteY0" fmla="*/ 0 h 534952"/>
              <a:gd name="connsiteX1" fmla="*/ 3552405 w 3552405"/>
              <a:gd name="connsiteY1" fmla="*/ 1 h 534952"/>
              <a:gd name="connsiteX2" fmla="*/ 3552405 w 3552405"/>
              <a:gd name="connsiteY2" fmla="*/ 534952 h 534952"/>
              <a:gd name="connsiteX3" fmla="*/ 8432 w 3552405"/>
              <a:gd name="connsiteY3" fmla="*/ 534952 h 534952"/>
              <a:gd name="connsiteX4" fmla="*/ 132566 w 3552405"/>
              <a:gd name="connsiteY4" fmla="*/ 267477 h 534952"/>
              <a:gd name="connsiteX5" fmla="*/ 0 w 3552405"/>
              <a:gd name="connsiteY5" fmla="*/ 0 h 534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52405" h="534952">
                <a:moveTo>
                  <a:pt x="0" y="0"/>
                </a:moveTo>
                <a:lnTo>
                  <a:pt x="3552405" y="1"/>
                </a:lnTo>
                <a:lnTo>
                  <a:pt x="3552405" y="534952"/>
                </a:lnTo>
                <a:lnTo>
                  <a:pt x="8432" y="534952"/>
                </a:lnTo>
                <a:lnTo>
                  <a:pt x="132566" y="26747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rtlCol="0" anchor="ctr">
            <a:noAutofit/>
          </a:bodyPr>
          <a:lstStyle/>
          <a:p>
            <a:pPr algn="l">
              <a:spcBef>
                <a:spcPts val="60"/>
              </a:spcBef>
              <a:spcAft>
                <a:spcPts val="600"/>
              </a:spcAft>
            </a:pP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Netflix is </a:t>
            </a:r>
            <a:r>
              <a:rPr lang="en-GB" sz="1000" b="1" dirty="0">
                <a:solidFill>
                  <a:srgbClr val="509AAF"/>
                </a:solidFill>
                <a:latin typeface="IBM Plex Sans Medium" panose="020B0603050203000203" pitchFamily="34" charset="0"/>
              </a:rPr>
              <a:t>leading</a:t>
            </a:r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 on the US market compared to Amazon prime and Hulu</a:t>
            </a:r>
          </a:p>
        </p:txBody>
      </p:sp>
      <p:pic>
        <p:nvPicPr>
          <p:cNvPr id="26" name="Picture 25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4C69D851-F70B-C648-A7A2-A92F9F6968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22289" y="3477771"/>
            <a:ext cx="94247" cy="136972"/>
          </a:xfrm>
          <a:prstGeom prst="rect">
            <a:avLst/>
          </a:prstGeom>
        </p:spPr>
      </p:pic>
      <p:pic>
        <p:nvPicPr>
          <p:cNvPr id="27" name="Picture 26" descr="A close up of a sign&#10;&#10;Description generated with high confidence">
            <a:extLst>
              <a:ext uri="{FF2B5EF4-FFF2-40B4-BE49-F238E27FC236}">
                <a16:creationId xmlns:a16="http://schemas.microsoft.com/office/drawing/2014/main" id="{0391ECE9-7E04-EA4C-AD40-3B0FD005BE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32892" y="3484700"/>
            <a:ext cx="344436" cy="120897"/>
          </a:xfrm>
          <a:prstGeom prst="rect">
            <a:avLst/>
          </a:prstGeom>
        </p:spPr>
      </p:pic>
      <p:pic>
        <p:nvPicPr>
          <p:cNvPr id="28" name="Picture 27" descr="A close up of a logo&#10;&#10;Description generated with high confidence">
            <a:extLst>
              <a:ext uri="{FF2B5EF4-FFF2-40B4-BE49-F238E27FC236}">
                <a16:creationId xmlns:a16="http://schemas.microsoft.com/office/drawing/2014/main" id="{889AB71A-BEF3-C449-B87A-E79488C5FF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08030" y="3492032"/>
            <a:ext cx="442072" cy="11629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56C9427-0010-A54D-A96A-F42681CB94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19861" y="3419912"/>
            <a:ext cx="262649" cy="27052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76ABFF15-DD92-9446-9CFB-632AAA3251E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62488" y="3426779"/>
            <a:ext cx="443122" cy="243717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7A3171F-696D-C340-B489-7A570D50B4A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14140" y="3507953"/>
            <a:ext cx="401132" cy="105899"/>
          </a:xfrm>
          <a:prstGeom prst="rect">
            <a:avLst/>
          </a:prstGeom>
        </p:spPr>
      </p:pic>
      <p:pic>
        <p:nvPicPr>
          <p:cNvPr id="32" name="Picture 31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ABDFE71-D953-8F4F-BBC8-37BDE369C5D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24150" y="3433397"/>
            <a:ext cx="262649" cy="26264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B42AFE8-6BF7-FB43-9F9D-AE3A6F293BD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669694" y="3446910"/>
            <a:ext cx="221400" cy="221400"/>
          </a:xfrm>
          <a:prstGeom prst="rect">
            <a:avLst/>
          </a:prstGeom>
        </p:spPr>
      </p:pic>
      <p:pic>
        <p:nvPicPr>
          <p:cNvPr id="34" name="Picture 33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951A059F-AB43-FB41-BB8D-5EC18841280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55967" y="3419362"/>
            <a:ext cx="280604" cy="280604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D0A3E3E6-BBAB-7546-8C5F-4F1B24D992C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7076" y="3499176"/>
            <a:ext cx="408291" cy="117098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EF17986A-D2E7-344B-83E2-5E864C1E6A1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31162" y="3431535"/>
            <a:ext cx="251572" cy="251572"/>
          </a:xfrm>
          <a:prstGeom prst="rect">
            <a:avLst/>
          </a:prstGeom>
        </p:spPr>
      </p:pic>
      <p:pic>
        <p:nvPicPr>
          <p:cNvPr id="37" name="Picture 3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717AC740-8F2E-0F4C-9D78-C80A23D4D7C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84293" y="3238933"/>
            <a:ext cx="515567" cy="515567"/>
          </a:xfrm>
          <a:prstGeom prst="rect">
            <a:avLst/>
          </a:prstGeom>
        </p:spPr>
      </p:pic>
      <p:pic>
        <p:nvPicPr>
          <p:cNvPr id="38" name="Picture 37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FD9E204-B161-8D44-8F43-4CA06ECBA23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535775" y="3425394"/>
            <a:ext cx="607885" cy="20041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E8B72149-448B-5C4B-8C2C-B405D6464AB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476313" y="3458963"/>
            <a:ext cx="657225" cy="153683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D30DFEBF-F5F3-8048-8CC1-6E21F5B8EC86}"/>
              </a:ext>
            </a:extLst>
          </p:cNvPr>
          <p:cNvSpPr txBox="1"/>
          <p:nvPr/>
        </p:nvSpPr>
        <p:spPr>
          <a:xfrm>
            <a:off x="8288621" y="3354435"/>
            <a:ext cx="10936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Subscription to any</a:t>
            </a: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3293972A-9513-C946-85CD-EE2AA5AFA76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80445" y="4610099"/>
            <a:ext cx="433909" cy="433909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2B181046-8E11-6845-A851-41AFE5E2F662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77851" y="5161333"/>
            <a:ext cx="446088" cy="446088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CA057F6F-B98C-724C-AF7F-87BFCBB34A63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24890" y="5641973"/>
            <a:ext cx="550399" cy="55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20863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inspiration 2/4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36DA42-848D-5445-BCED-FCA2A26BF1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pc="1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5" name="Freeform 84">
            <a:extLst>
              <a:ext uri="{FF2B5EF4-FFF2-40B4-BE49-F238E27FC236}">
                <a16:creationId xmlns:a16="http://schemas.microsoft.com/office/drawing/2014/main" id="{2D4544D6-4807-FB44-9B93-51045988C824}"/>
              </a:ext>
            </a:extLst>
          </p:cNvPr>
          <p:cNvSpPr/>
          <p:nvPr/>
        </p:nvSpPr>
        <p:spPr>
          <a:xfrm>
            <a:off x="5576087" y="2734030"/>
            <a:ext cx="1487774" cy="660008"/>
          </a:xfrm>
          <a:custGeom>
            <a:avLst/>
            <a:gdLst>
              <a:gd name="connsiteX0" fmla="*/ 0 w 825500"/>
              <a:gd name="connsiteY0" fmla="*/ 311150 h 311150"/>
              <a:gd name="connsiteX1" fmla="*/ 0 w 825500"/>
              <a:gd name="connsiteY1" fmla="*/ 0 h 311150"/>
              <a:gd name="connsiteX2" fmla="*/ 825500 w 825500"/>
              <a:gd name="connsiteY2" fmla="*/ 0 h 311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5500" h="311150">
                <a:moveTo>
                  <a:pt x="0" y="311150"/>
                </a:moveTo>
                <a:lnTo>
                  <a:pt x="0" y="0"/>
                </a:lnTo>
                <a:lnTo>
                  <a:pt x="825500" y="0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6" name="Freeform 87">
            <a:extLst>
              <a:ext uri="{FF2B5EF4-FFF2-40B4-BE49-F238E27FC236}">
                <a16:creationId xmlns:a16="http://schemas.microsoft.com/office/drawing/2014/main" id="{F30A8C9B-F7C9-B54C-A6C3-D44C72F2F544}"/>
              </a:ext>
            </a:extLst>
          </p:cNvPr>
          <p:cNvSpPr/>
          <p:nvPr/>
        </p:nvSpPr>
        <p:spPr>
          <a:xfrm flipH="1">
            <a:off x="6315951" y="3764894"/>
            <a:ext cx="3063122" cy="45719"/>
          </a:xfrm>
          <a:custGeom>
            <a:avLst/>
            <a:gdLst>
              <a:gd name="connsiteX0" fmla="*/ 762000 w 762000"/>
              <a:gd name="connsiteY0" fmla="*/ 0 h 0"/>
              <a:gd name="connsiteX1" fmla="*/ 0 w 762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000">
                <a:moveTo>
                  <a:pt x="762000" y="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38FE292B-0491-4042-A1B3-6C2D30247A63}"/>
              </a:ext>
            </a:extLst>
          </p:cNvPr>
          <p:cNvSpPr/>
          <p:nvPr/>
        </p:nvSpPr>
        <p:spPr>
          <a:xfrm flipH="1">
            <a:off x="5697661" y="4600207"/>
            <a:ext cx="2966393" cy="59142"/>
          </a:xfrm>
          <a:custGeom>
            <a:avLst/>
            <a:gdLst>
              <a:gd name="connsiteX0" fmla="*/ 762000 w 762000"/>
              <a:gd name="connsiteY0" fmla="*/ 0 h 0"/>
              <a:gd name="connsiteX1" fmla="*/ 0 w 762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000">
                <a:moveTo>
                  <a:pt x="762000" y="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8" name="Freeform 79">
            <a:extLst>
              <a:ext uri="{FF2B5EF4-FFF2-40B4-BE49-F238E27FC236}">
                <a16:creationId xmlns:a16="http://schemas.microsoft.com/office/drawing/2014/main" id="{881CD05D-2C3D-C448-AC37-280412723AD7}"/>
              </a:ext>
            </a:extLst>
          </p:cNvPr>
          <p:cNvSpPr/>
          <p:nvPr/>
        </p:nvSpPr>
        <p:spPr>
          <a:xfrm>
            <a:off x="2174673" y="3868752"/>
            <a:ext cx="1373330" cy="0"/>
          </a:xfrm>
          <a:custGeom>
            <a:avLst/>
            <a:gdLst>
              <a:gd name="connsiteX0" fmla="*/ 762000 w 762000"/>
              <a:gd name="connsiteY0" fmla="*/ 0 h 0"/>
              <a:gd name="connsiteX1" fmla="*/ 0 w 762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2000">
                <a:moveTo>
                  <a:pt x="762000" y="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9" name="Freeform 82">
            <a:extLst>
              <a:ext uri="{FF2B5EF4-FFF2-40B4-BE49-F238E27FC236}">
                <a16:creationId xmlns:a16="http://schemas.microsoft.com/office/drawing/2014/main" id="{B5A193A7-C78F-D944-AF0C-E5AEC210CC84}"/>
              </a:ext>
            </a:extLst>
          </p:cNvPr>
          <p:cNvSpPr/>
          <p:nvPr/>
        </p:nvSpPr>
        <p:spPr>
          <a:xfrm>
            <a:off x="1453675" y="4326431"/>
            <a:ext cx="2431939" cy="772149"/>
          </a:xfrm>
          <a:custGeom>
            <a:avLst/>
            <a:gdLst>
              <a:gd name="connsiteX0" fmla="*/ 1349375 w 1349375"/>
              <a:gd name="connsiteY0" fmla="*/ 0 h 596900"/>
              <a:gd name="connsiteX1" fmla="*/ 590550 w 1349375"/>
              <a:gd name="connsiteY1" fmla="*/ 0 h 596900"/>
              <a:gd name="connsiteX2" fmla="*/ 590550 w 1349375"/>
              <a:gd name="connsiteY2" fmla="*/ 596900 h 596900"/>
              <a:gd name="connsiteX3" fmla="*/ 0 w 1349375"/>
              <a:gd name="connsiteY3" fmla="*/ 596900 h 59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49375" h="596900">
                <a:moveTo>
                  <a:pt x="1349375" y="0"/>
                </a:moveTo>
                <a:lnTo>
                  <a:pt x="590550" y="0"/>
                </a:lnTo>
                <a:lnTo>
                  <a:pt x="590550" y="596900"/>
                </a:lnTo>
                <a:lnTo>
                  <a:pt x="0" y="596900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0" name="Freeform 83">
            <a:extLst>
              <a:ext uri="{FF2B5EF4-FFF2-40B4-BE49-F238E27FC236}">
                <a16:creationId xmlns:a16="http://schemas.microsoft.com/office/drawing/2014/main" id="{E2298859-ECA0-4144-BDC4-2F59EB018A02}"/>
              </a:ext>
            </a:extLst>
          </p:cNvPr>
          <p:cNvSpPr/>
          <p:nvPr/>
        </p:nvSpPr>
        <p:spPr>
          <a:xfrm>
            <a:off x="3121700" y="5201259"/>
            <a:ext cx="1261746" cy="677684"/>
          </a:xfrm>
          <a:custGeom>
            <a:avLst/>
            <a:gdLst>
              <a:gd name="connsiteX0" fmla="*/ 700087 w 700087"/>
              <a:gd name="connsiteY0" fmla="*/ 0 h 523875"/>
              <a:gd name="connsiteX1" fmla="*/ 614362 w 700087"/>
              <a:gd name="connsiteY1" fmla="*/ 0 h 523875"/>
              <a:gd name="connsiteX2" fmla="*/ 614362 w 700087"/>
              <a:gd name="connsiteY2" fmla="*/ 523875 h 523875"/>
              <a:gd name="connsiteX3" fmla="*/ 0 w 700087"/>
              <a:gd name="connsiteY3" fmla="*/ 5238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0087" h="523875">
                <a:moveTo>
                  <a:pt x="700087" y="0"/>
                </a:moveTo>
                <a:lnTo>
                  <a:pt x="614362" y="0"/>
                </a:lnTo>
                <a:lnTo>
                  <a:pt x="614362" y="523875"/>
                </a:lnTo>
                <a:lnTo>
                  <a:pt x="0" y="523875"/>
                </a:lnTo>
              </a:path>
            </a:pathLst>
          </a:custGeom>
          <a:noFill/>
          <a:ln w="12700">
            <a:solidFill>
              <a:schemeClr val="bg1">
                <a:lumMod val="85000"/>
              </a:schemeClr>
            </a:solidFill>
            <a:prstDash val="dash"/>
            <a:tailEnd type="oval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2129D5-A2A3-C742-92ED-92545242C51E}"/>
              </a:ext>
            </a:extLst>
          </p:cNvPr>
          <p:cNvSpPr txBox="1"/>
          <p:nvPr/>
        </p:nvSpPr>
        <p:spPr>
          <a:xfrm>
            <a:off x="1408392" y="4844175"/>
            <a:ext cx="918134" cy="169277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100" b="1" dirty="0">
                <a:solidFill>
                  <a:srgbClr val="509AAF"/>
                </a:solidFill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8453EC-D94C-A247-BE51-E76ACF009447}"/>
              </a:ext>
            </a:extLst>
          </p:cNvPr>
          <p:cNvSpPr txBox="1"/>
          <p:nvPr/>
        </p:nvSpPr>
        <p:spPr>
          <a:xfrm>
            <a:off x="3020587" y="5658899"/>
            <a:ext cx="1036433" cy="169277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100" b="1" dirty="0">
                <a:solidFill>
                  <a:srgbClr val="509AAF"/>
                </a:solidFill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C868F2-0BA8-9044-991B-EF94BD4BBE19}"/>
              </a:ext>
            </a:extLst>
          </p:cNvPr>
          <p:cNvSpPr txBox="1"/>
          <p:nvPr/>
        </p:nvSpPr>
        <p:spPr>
          <a:xfrm>
            <a:off x="2220396" y="3657863"/>
            <a:ext cx="1069754" cy="169277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solidFill>
                  <a:srgbClr val="509AAF"/>
                </a:solidFill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78A2AAA-74F1-0249-9AA9-FD50BD012837}"/>
              </a:ext>
            </a:extLst>
          </p:cNvPr>
          <p:cNvCxnSpPr>
            <a:cxnSpLocks/>
          </p:cNvCxnSpPr>
          <p:nvPr/>
        </p:nvCxnSpPr>
        <p:spPr>
          <a:xfrm flipH="1">
            <a:off x="4947877" y="1637834"/>
            <a:ext cx="3807" cy="4277000"/>
          </a:xfrm>
          <a:prstGeom prst="line">
            <a:avLst/>
          </a:prstGeom>
          <a:ln w="19050">
            <a:solidFill>
              <a:srgbClr val="612C8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eform 147">
            <a:extLst>
              <a:ext uri="{FF2B5EF4-FFF2-40B4-BE49-F238E27FC236}">
                <a16:creationId xmlns:a16="http://schemas.microsoft.com/office/drawing/2014/main" id="{086B8F01-AF17-6F42-B640-33F4694F47FC}"/>
              </a:ext>
            </a:extLst>
          </p:cNvPr>
          <p:cNvSpPr/>
          <p:nvPr/>
        </p:nvSpPr>
        <p:spPr>
          <a:xfrm flipV="1">
            <a:off x="4686282" y="5326484"/>
            <a:ext cx="4817428" cy="959220"/>
          </a:xfrm>
          <a:custGeom>
            <a:avLst/>
            <a:gdLst>
              <a:gd name="connsiteX0" fmla="*/ 0 w 3446945"/>
              <a:gd name="connsiteY0" fmla="*/ 990649 h 990649"/>
              <a:gd name="connsiteX1" fmla="*/ 407930 w 3446945"/>
              <a:gd name="connsiteY1" fmla="*/ 990649 h 990649"/>
              <a:gd name="connsiteX2" fmla="*/ 407930 w 3446945"/>
              <a:gd name="connsiteY2" fmla="*/ 553686 h 990649"/>
              <a:gd name="connsiteX3" fmla="*/ 553118 w 3446945"/>
              <a:gd name="connsiteY3" fmla="*/ 408498 h 990649"/>
              <a:gd name="connsiteX4" fmla="*/ 1093534 w 3446945"/>
              <a:gd name="connsiteY4" fmla="*/ 408498 h 990649"/>
              <a:gd name="connsiteX5" fmla="*/ 1093534 w 3446945"/>
              <a:gd name="connsiteY5" fmla="*/ 409690 h 990649"/>
              <a:gd name="connsiteX6" fmla="*/ 3446945 w 3446945"/>
              <a:gd name="connsiteY6" fmla="*/ 409690 h 990649"/>
              <a:gd name="connsiteX7" fmla="*/ 3446945 w 3446945"/>
              <a:gd name="connsiteY7" fmla="*/ 0 h 990649"/>
              <a:gd name="connsiteX8" fmla="*/ 1093534 w 3446945"/>
              <a:gd name="connsiteY8" fmla="*/ 0 h 990649"/>
              <a:gd name="connsiteX9" fmla="*/ 1093534 w 3446945"/>
              <a:gd name="connsiteY9" fmla="*/ 568 h 990649"/>
              <a:gd name="connsiteX10" fmla="*/ 553118 w 3446945"/>
              <a:gd name="connsiteY10" fmla="*/ 568 h 990649"/>
              <a:gd name="connsiteX11" fmla="*/ 0 w 3446945"/>
              <a:gd name="connsiteY11" fmla="*/ 553686 h 990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446945" h="990649">
                <a:moveTo>
                  <a:pt x="0" y="990649"/>
                </a:moveTo>
                <a:lnTo>
                  <a:pt x="407930" y="990649"/>
                </a:lnTo>
                <a:lnTo>
                  <a:pt x="407930" y="553686"/>
                </a:lnTo>
                <a:cubicBezTo>
                  <a:pt x="407930" y="473501"/>
                  <a:pt x="472933" y="408498"/>
                  <a:pt x="553118" y="408498"/>
                </a:cubicBezTo>
                <a:lnTo>
                  <a:pt x="1093534" y="408498"/>
                </a:lnTo>
                <a:lnTo>
                  <a:pt x="1093534" y="409690"/>
                </a:lnTo>
                <a:lnTo>
                  <a:pt x="3446945" y="409690"/>
                </a:lnTo>
                <a:lnTo>
                  <a:pt x="3446945" y="0"/>
                </a:lnTo>
                <a:lnTo>
                  <a:pt x="1093534" y="0"/>
                </a:lnTo>
                <a:lnTo>
                  <a:pt x="1093534" y="568"/>
                </a:lnTo>
                <a:lnTo>
                  <a:pt x="553118" y="568"/>
                </a:lnTo>
                <a:cubicBezTo>
                  <a:pt x="247640" y="568"/>
                  <a:pt x="0" y="248208"/>
                  <a:pt x="0" y="553686"/>
                </a:cubicBezTo>
                <a:close/>
              </a:path>
            </a:pathLst>
          </a:custGeom>
          <a:solidFill>
            <a:srgbClr val="509AA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6" name="Freeform: Shape 102">
            <a:extLst>
              <a:ext uri="{FF2B5EF4-FFF2-40B4-BE49-F238E27FC236}">
                <a16:creationId xmlns:a16="http://schemas.microsoft.com/office/drawing/2014/main" id="{32910795-7CCA-BF43-933D-16889950F7EC}"/>
              </a:ext>
            </a:extLst>
          </p:cNvPr>
          <p:cNvSpPr>
            <a:spLocks/>
          </p:cNvSpPr>
          <p:nvPr/>
        </p:nvSpPr>
        <p:spPr bwMode="auto">
          <a:xfrm>
            <a:off x="3238340" y="3489490"/>
            <a:ext cx="3409047" cy="1854993"/>
          </a:xfrm>
          <a:custGeom>
            <a:avLst/>
            <a:gdLst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595471 w 3409047"/>
              <a:gd name="connsiteY29" fmla="*/ 849360 h 1915772"/>
              <a:gd name="connsiteX30" fmla="*/ 571064 w 3409047"/>
              <a:gd name="connsiteY30" fmla="*/ 826257 h 1915772"/>
              <a:gd name="connsiteX31" fmla="*/ 550144 w 3409047"/>
              <a:gd name="connsiteY31" fmla="*/ 798953 h 1915772"/>
              <a:gd name="connsiteX32" fmla="*/ 522251 w 3409047"/>
              <a:gd name="connsiteY32" fmla="*/ 750646 h 1915772"/>
              <a:gd name="connsiteX33" fmla="*/ 435084 w 3409047"/>
              <a:gd name="connsiteY33" fmla="*/ 637230 h 1915772"/>
              <a:gd name="connsiteX34" fmla="*/ 414164 w 3409047"/>
              <a:gd name="connsiteY34" fmla="*/ 609926 h 1915772"/>
              <a:gd name="connsiteX35" fmla="*/ 232856 w 3409047"/>
              <a:gd name="connsiteY35" fmla="*/ 359989 h 1915772"/>
              <a:gd name="connsiteX36" fmla="*/ 215423 w 3409047"/>
              <a:gd name="connsiteY36" fmla="*/ 332685 h 1915772"/>
              <a:gd name="connsiteX37" fmla="*/ 121282 w 3409047"/>
              <a:gd name="connsiteY37" fmla="*/ 196166 h 1915772"/>
              <a:gd name="connsiteX38" fmla="*/ 2735 w 3409047"/>
              <a:gd name="connsiteY38" fmla="*/ 28141 h 1915772"/>
              <a:gd name="connsiteX39" fmla="*/ 16682 w 3409047"/>
              <a:gd name="connsiteY39" fmla="*/ 13439 h 1915772"/>
              <a:gd name="connsiteX40" fmla="*/ 414164 w 3409047"/>
              <a:gd name="connsiteY40" fmla="*/ 124755 h 1915772"/>
              <a:gd name="connsiteX41" fmla="*/ 933679 w 3409047"/>
              <a:gd name="connsiteY41" fmla="*/ 196166 h 1915772"/>
              <a:gd name="connsiteX42" fmla="*/ 1700750 w 3409047"/>
              <a:gd name="connsiteY42" fmla="*/ 227670 h 1915772"/>
              <a:gd name="connsiteX43" fmla="*/ 1700750 w 3409047"/>
              <a:gd name="connsiteY43" fmla="*/ 229443 h 1915772"/>
              <a:gd name="connsiteX44" fmla="*/ 1719476 w 3409047"/>
              <a:gd name="connsiteY44" fmla="*/ 220564 h 1915772"/>
              <a:gd name="connsiteX45" fmla="*/ 1753496 w 3409047"/>
              <a:gd name="connsiteY45" fmla="*/ 219514 h 1915772"/>
              <a:gd name="connsiteX46" fmla="*/ 2517638 w 3409047"/>
              <a:gd name="connsiteY46" fmla="*/ 179614 h 1915772"/>
              <a:gd name="connsiteX47" fmla="*/ 3250376 w 3409047"/>
              <a:gd name="connsiteY47" fmla="*/ 49417 h 1915772"/>
              <a:gd name="connsiteX48" fmla="*/ 3355053 w 3409047"/>
              <a:gd name="connsiteY48" fmla="*/ 13718 h 1915772"/>
              <a:gd name="connsiteX49" fmla="*/ 3407391 w 3409047"/>
              <a:gd name="connsiteY49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595471 w 3409047"/>
              <a:gd name="connsiteY29" fmla="*/ 849360 h 1915772"/>
              <a:gd name="connsiteX30" fmla="*/ 571064 w 3409047"/>
              <a:gd name="connsiteY30" fmla="*/ 826257 h 1915772"/>
              <a:gd name="connsiteX31" fmla="*/ 522251 w 3409047"/>
              <a:gd name="connsiteY31" fmla="*/ 750646 h 1915772"/>
              <a:gd name="connsiteX32" fmla="*/ 435084 w 3409047"/>
              <a:gd name="connsiteY32" fmla="*/ 637230 h 1915772"/>
              <a:gd name="connsiteX33" fmla="*/ 414164 w 3409047"/>
              <a:gd name="connsiteY33" fmla="*/ 609926 h 1915772"/>
              <a:gd name="connsiteX34" fmla="*/ 232856 w 3409047"/>
              <a:gd name="connsiteY34" fmla="*/ 359989 h 1915772"/>
              <a:gd name="connsiteX35" fmla="*/ 215423 w 3409047"/>
              <a:gd name="connsiteY35" fmla="*/ 332685 h 1915772"/>
              <a:gd name="connsiteX36" fmla="*/ 121282 w 3409047"/>
              <a:gd name="connsiteY36" fmla="*/ 196166 h 1915772"/>
              <a:gd name="connsiteX37" fmla="*/ 2735 w 3409047"/>
              <a:gd name="connsiteY37" fmla="*/ 28141 h 1915772"/>
              <a:gd name="connsiteX38" fmla="*/ 16682 w 3409047"/>
              <a:gd name="connsiteY38" fmla="*/ 13439 h 1915772"/>
              <a:gd name="connsiteX39" fmla="*/ 414164 w 3409047"/>
              <a:gd name="connsiteY39" fmla="*/ 124755 h 1915772"/>
              <a:gd name="connsiteX40" fmla="*/ 933679 w 3409047"/>
              <a:gd name="connsiteY40" fmla="*/ 196166 h 1915772"/>
              <a:gd name="connsiteX41" fmla="*/ 1700750 w 3409047"/>
              <a:gd name="connsiteY41" fmla="*/ 227670 h 1915772"/>
              <a:gd name="connsiteX42" fmla="*/ 1700750 w 3409047"/>
              <a:gd name="connsiteY42" fmla="*/ 229443 h 1915772"/>
              <a:gd name="connsiteX43" fmla="*/ 1719476 w 3409047"/>
              <a:gd name="connsiteY43" fmla="*/ 220564 h 1915772"/>
              <a:gd name="connsiteX44" fmla="*/ 1753496 w 3409047"/>
              <a:gd name="connsiteY44" fmla="*/ 219514 h 1915772"/>
              <a:gd name="connsiteX45" fmla="*/ 2517638 w 3409047"/>
              <a:gd name="connsiteY45" fmla="*/ 179614 h 1915772"/>
              <a:gd name="connsiteX46" fmla="*/ 3250376 w 3409047"/>
              <a:gd name="connsiteY46" fmla="*/ 49417 h 1915772"/>
              <a:gd name="connsiteX47" fmla="*/ 3355053 w 3409047"/>
              <a:gd name="connsiteY47" fmla="*/ 13718 h 1915772"/>
              <a:gd name="connsiteX48" fmla="*/ 3407391 w 3409047"/>
              <a:gd name="connsiteY48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595471 w 3409047"/>
              <a:gd name="connsiteY29" fmla="*/ 849360 h 1915772"/>
              <a:gd name="connsiteX30" fmla="*/ 522251 w 3409047"/>
              <a:gd name="connsiteY30" fmla="*/ 750646 h 1915772"/>
              <a:gd name="connsiteX31" fmla="*/ 435084 w 3409047"/>
              <a:gd name="connsiteY31" fmla="*/ 637230 h 1915772"/>
              <a:gd name="connsiteX32" fmla="*/ 414164 w 3409047"/>
              <a:gd name="connsiteY32" fmla="*/ 609926 h 1915772"/>
              <a:gd name="connsiteX33" fmla="*/ 232856 w 3409047"/>
              <a:gd name="connsiteY33" fmla="*/ 359989 h 1915772"/>
              <a:gd name="connsiteX34" fmla="*/ 215423 w 3409047"/>
              <a:gd name="connsiteY34" fmla="*/ 332685 h 1915772"/>
              <a:gd name="connsiteX35" fmla="*/ 121282 w 3409047"/>
              <a:gd name="connsiteY35" fmla="*/ 196166 h 1915772"/>
              <a:gd name="connsiteX36" fmla="*/ 2735 w 3409047"/>
              <a:gd name="connsiteY36" fmla="*/ 28141 h 1915772"/>
              <a:gd name="connsiteX37" fmla="*/ 16682 w 3409047"/>
              <a:gd name="connsiteY37" fmla="*/ 13439 h 1915772"/>
              <a:gd name="connsiteX38" fmla="*/ 414164 w 3409047"/>
              <a:gd name="connsiteY38" fmla="*/ 124755 h 1915772"/>
              <a:gd name="connsiteX39" fmla="*/ 933679 w 3409047"/>
              <a:gd name="connsiteY39" fmla="*/ 196166 h 1915772"/>
              <a:gd name="connsiteX40" fmla="*/ 1700750 w 3409047"/>
              <a:gd name="connsiteY40" fmla="*/ 227670 h 1915772"/>
              <a:gd name="connsiteX41" fmla="*/ 1700750 w 3409047"/>
              <a:gd name="connsiteY41" fmla="*/ 229443 h 1915772"/>
              <a:gd name="connsiteX42" fmla="*/ 1719476 w 3409047"/>
              <a:gd name="connsiteY42" fmla="*/ 220564 h 1915772"/>
              <a:gd name="connsiteX43" fmla="*/ 1753496 w 3409047"/>
              <a:gd name="connsiteY43" fmla="*/ 219514 h 1915772"/>
              <a:gd name="connsiteX44" fmla="*/ 2517638 w 3409047"/>
              <a:gd name="connsiteY44" fmla="*/ 179614 h 1915772"/>
              <a:gd name="connsiteX45" fmla="*/ 3250376 w 3409047"/>
              <a:gd name="connsiteY45" fmla="*/ 49417 h 1915772"/>
              <a:gd name="connsiteX46" fmla="*/ 3355053 w 3409047"/>
              <a:gd name="connsiteY46" fmla="*/ 13718 h 1915772"/>
              <a:gd name="connsiteX47" fmla="*/ 3407391 w 3409047"/>
              <a:gd name="connsiteY47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522251 w 3409047"/>
              <a:gd name="connsiteY29" fmla="*/ 750646 h 1915772"/>
              <a:gd name="connsiteX30" fmla="*/ 435084 w 3409047"/>
              <a:gd name="connsiteY30" fmla="*/ 637230 h 1915772"/>
              <a:gd name="connsiteX31" fmla="*/ 414164 w 3409047"/>
              <a:gd name="connsiteY31" fmla="*/ 609926 h 1915772"/>
              <a:gd name="connsiteX32" fmla="*/ 232856 w 3409047"/>
              <a:gd name="connsiteY32" fmla="*/ 359989 h 1915772"/>
              <a:gd name="connsiteX33" fmla="*/ 215423 w 3409047"/>
              <a:gd name="connsiteY33" fmla="*/ 332685 h 1915772"/>
              <a:gd name="connsiteX34" fmla="*/ 121282 w 3409047"/>
              <a:gd name="connsiteY34" fmla="*/ 196166 h 1915772"/>
              <a:gd name="connsiteX35" fmla="*/ 2735 w 3409047"/>
              <a:gd name="connsiteY35" fmla="*/ 28141 h 1915772"/>
              <a:gd name="connsiteX36" fmla="*/ 16682 w 3409047"/>
              <a:gd name="connsiteY36" fmla="*/ 13439 h 1915772"/>
              <a:gd name="connsiteX37" fmla="*/ 414164 w 3409047"/>
              <a:gd name="connsiteY37" fmla="*/ 124755 h 1915772"/>
              <a:gd name="connsiteX38" fmla="*/ 933679 w 3409047"/>
              <a:gd name="connsiteY38" fmla="*/ 196166 h 1915772"/>
              <a:gd name="connsiteX39" fmla="*/ 1700750 w 3409047"/>
              <a:gd name="connsiteY39" fmla="*/ 227670 h 1915772"/>
              <a:gd name="connsiteX40" fmla="*/ 1700750 w 3409047"/>
              <a:gd name="connsiteY40" fmla="*/ 229443 h 1915772"/>
              <a:gd name="connsiteX41" fmla="*/ 1719476 w 3409047"/>
              <a:gd name="connsiteY41" fmla="*/ 220564 h 1915772"/>
              <a:gd name="connsiteX42" fmla="*/ 1753496 w 3409047"/>
              <a:gd name="connsiteY42" fmla="*/ 219514 h 1915772"/>
              <a:gd name="connsiteX43" fmla="*/ 2517638 w 3409047"/>
              <a:gd name="connsiteY43" fmla="*/ 179614 h 1915772"/>
              <a:gd name="connsiteX44" fmla="*/ 3250376 w 3409047"/>
              <a:gd name="connsiteY44" fmla="*/ 49417 h 1915772"/>
              <a:gd name="connsiteX45" fmla="*/ 3355053 w 3409047"/>
              <a:gd name="connsiteY45" fmla="*/ 13718 h 1915772"/>
              <a:gd name="connsiteX46" fmla="*/ 3407391 w 3409047"/>
              <a:gd name="connsiteY46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435084 w 3409047"/>
              <a:gd name="connsiteY29" fmla="*/ 637230 h 1915772"/>
              <a:gd name="connsiteX30" fmla="*/ 414164 w 3409047"/>
              <a:gd name="connsiteY30" fmla="*/ 609926 h 1915772"/>
              <a:gd name="connsiteX31" fmla="*/ 232856 w 3409047"/>
              <a:gd name="connsiteY31" fmla="*/ 359989 h 1915772"/>
              <a:gd name="connsiteX32" fmla="*/ 215423 w 3409047"/>
              <a:gd name="connsiteY32" fmla="*/ 332685 h 1915772"/>
              <a:gd name="connsiteX33" fmla="*/ 121282 w 3409047"/>
              <a:gd name="connsiteY33" fmla="*/ 196166 h 1915772"/>
              <a:gd name="connsiteX34" fmla="*/ 2735 w 3409047"/>
              <a:gd name="connsiteY34" fmla="*/ 28141 h 1915772"/>
              <a:gd name="connsiteX35" fmla="*/ 16682 w 3409047"/>
              <a:gd name="connsiteY35" fmla="*/ 13439 h 1915772"/>
              <a:gd name="connsiteX36" fmla="*/ 414164 w 3409047"/>
              <a:gd name="connsiteY36" fmla="*/ 124755 h 1915772"/>
              <a:gd name="connsiteX37" fmla="*/ 933679 w 3409047"/>
              <a:gd name="connsiteY37" fmla="*/ 196166 h 1915772"/>
              <a:gd name="connsiteX38" fmla="*/ 1700750 w 3409047"/>
              <a:gd name="connsiteY38" fmla="*/ 227670 h 1915772"/>
              <a:gd name="connsiteX39" fmla="*/ 1700750 w 3409047"/>
              <a:gd name="connsiteY39" fmla="*/ 229443 h 1915772"/>
              <a:gd name="connsiteX40" fmla="*/ 1719476 w 3409047"/>
              <a:gd name="connsiteY40" fmla="*/ 220564 h 1915772"/>
              <a:gd name="connsiteX41" fmla="*/ 1753496 w 3409047"/>
              <a:gd name="connsiteY41" fmla="*/ 219514 h 1915772"/>
              <a:gd name="connsiteX42" fmla="*/ 2517638 w 3409047"/>
              <a:gd name="connsiteY42" fmla="*/ 179614 h 1915772"/>
              <a:gd name="connsiteX43" fmla="*/ 3250376 w 3409047"/>
              <a:gd name="connsiteY43" fmla="*/ 49417 h 1915772"/>
              <a:gd name="connsiteX44" fmla="*/ 3355053 w 3409047"/>
              <a:gd name="connsiteY44" fmla="*/ 13718 h 1915772"/>
              <a:gd name="connsiteX45" fmla="*/ 3407391 w 3409047"/>
              <a:gd name="connsiteY45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414164 w 3409047"/>
              <a:gd name="connsiteY29" fmla="*/ 609926 h 1915772"/>
              <a:gd name="connsiteX30" fmla="*/ 232856 w 3409047"/>
              <a:gd name="connsiteY30" fmla="*/ 359989 h 1915772"/>
              <a:gd name="connsiteX31" fmla="*/ 215423 w 3409047"/>
              <a:gd name="connsiteY31" fmla="*/ 332685 h 1915772"/>
              <a:gd name="connsiteX32" fmla="*/ 121282 w 3409047"/>
              <a:gd name="connsiteY32" fmla="*/ 196166 h 1915772"/>
              <a:gd name="connsiteX33" fmla="*/ 2735 w 3409047"/>
              <a:gd name="connsiteY33" fmla="*/ 28141 h 1915772"/>
              <a:gd name="connsiteX34" fmla="*/ 16682 w 3409047"/>
              <a:gd name="connsiteY34" fmla="*/ 13439 h 1915772"/>
              <a:gd name="connsiteX35" fmla="*/ 414164 w 3409047"/>
              <a:gd name="connsiteY35" fmla="*/ 124755 h 1915772"/>
              <a:gd name="connsiteX36" fmla="*/ 933679 w 3409047"/>
              <a:gd name="connsiteY36" fmla="*/ 196166 h 1915772"/>
              <a:gd name="connsiteX37" fmla="*/ 1700750 w 3409047"/>
              <a:gd name="connsiteY37" fmla="*/ 227670 h 1915772"/>
              <a:gd name="connsiteX38" fmla="*/ 1700750 w 3409047"/>
              <a:gd name="connsiteY38" fmla="*/ 229443 h 1915772"/>
              <a:gd name="connsiteX39" fmla="*/ 1719476 w 3409047"/>
              <a:gd name="connsiteY39" fmla="*/ 220564 h 1915772"/>
              <a:gd name="connsiteX40" fmla="*/ 1753496 w 3409047"/>
              <a:gd name="connsiteY40" fmla="*/ 219514 h 1915772"/>
              <a:gd name="connsiteX41" fmla="*/ 2517638 w 3409047"/>
              <a:gd name="connsiteY41" fmla="*/ 179614 h 1915772"/>
              <a:gd name="connsiteX42" fmla="*/ 3250376 w 3409047"/>
              <a:gd name="connsiteY42" fmla="*/ 49417 h 1915772"/>
              <a:gd name="connsiteX43" fmla="*/ 3355053 w 3409047"/>
              <a:gd name="connsiteY43" fmla="*/ 13718 h 1915772"/>
              <a:gd name="connsiteX44" fmla="*/ 3407391 w 3409047"/>
              <a:gd name="connsiteY44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232856 w 3409047"/>
              <a:gd name="connsiteY29" fmla="*/ 359989 h 1915772"/>
              <a:gd name="connsiteX30" fmla="*/ 215423 w 3409047"/>
              <a:gd name="connsiteY30" fmla="*/ 332685 h 1915772"/>
              <a:gd name="connsiteX31" fmla="*/ 121282 w 3409047"/>
              <a:gd name="connsiteY31" fmla="*/ 196166 h 1915772"/>
              <a:gd name="connsiteX32" fmla="*/ 2735 w 3409047"/>
              <a:gd name="connsiteY32" fmla="*/ 28141 h 1915772"/>
              <a:gd name="connsiteX33" fmla="*/ 16682 w 3409047"/>
              <a:gd name="connsiteY33" fmla="*/ 13439 h 1915772"/>
              <a:gd name="connsiteX34" fmla="*/ 414164 w 3409047"/>
              <a:gd name="connsiteY34" fmla="*/ 124755 h 1915772"/>
              <a:gd name="connsiteX35" fmla="*/ 933679 w 3409047"/>
              <a:gd name="connsiteY35" fmla="*/ 196166 h 1915772"/>
              <a:gd name="connsiteX36" fmla="*/ 1700750 w 3409047"/>
              <a:gd name="connsiteY36" fmla="*/ 227670 h 1915772"/>
              <a:gd name="connsiteX37" fmla="*/ 1700750 w 3409047"/>
              <a:gd name="connsiteY37" fmla="*/ 229443 h 1915772"/>
              <a:gd name="connsiteX38" fmla="*/ 1719476 w 3409047"/>
              <a:gd name="connsiteY38" fmla="*/ 220564 h 1915772"/>
              <a:gd name="connsiteX39" fmla="*/ 1753496 w 3409047"/>
              <a:gd name="connsiteY39" fmla="*/ 219514 h 1915772"/>
              <a:gd name="connsiteX40" fmla="*/ 2517638 w 3409047"/>
              <a:gd name="connsiteY40" fmla="*/ 179614 h 1915772"/>
              <a:gd name="connsiteX41" fmla="*/ 3250376 w 3409047"/>
              <a:gd name="connsiteY41" fmla="*/ 49417 h 1915772"/>
              <a:gd name="connsiteX42" fmla="*/ 3355053 w 3409047"/>
              <a:gd name="connsiteY42" fmla="*/ 13718 h 1915772"/>
              <a:gd name="connsiteX43" fmla="*/ 3407391 w 3409047"/>
              <a:gd name="connsiteY43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215423 w 3409047"/>
              <a:gd name="connsiteY29" fmla="*/ 332685 h 1915772"/>
              <a:gd name="connsiteX30" fmla="*/ 121282 w 3409047"/>
              <a:gd name="connsiteY30" fmla="*/ 196166 h 1915772"/>
              <a:gd name="connsiteX31" fmla="*/ 2735 w 3409047"/>
              <a:gd name="connsiteY31" fmla="*/ 28141 h 1915772"/>
              <a:gd name="connsiteX32" fmla="*/ 16682 w 3409047"/>
              <a:gd name="connsiteY32" fmla="*/ 13439 h 1915772"/>
              <a:gd name="connsiteX33" fmla="*/ 414164 w 3409047"/>
              <a:gd name="connsiteY33" fmla="*/ 124755 h 1915772"/>
              <a:gd name="connsiteX34" fmla="*/ 933679 w 3409047"/>
              <a:gd name="connsiteY34" fmla="*/ 196166 h 1915772"/>
              <a:gd name="connsiteX35" fmla="*/ 1700750 w 3409047"/>
              <a:gd name="connsiteY35" fmla="*/ 227670 h 1915772"/>
              <a:gd name="connsiteX36" fmla="*/ 1700750 w 3409047"/>
              <a:gd name="connsiteY36" fmla="*/ 229443 h 1915772"/>
              <a:gd name="connsiteX37" fmla="*/ 1719476 w 3409047"/>
              <a:gd name="connsiteY37" fmla="*/ 220564 h 1915772"/>
              <a:gd name="connsiteX38" fmla="*/ 1753496 w 3409047"/>
              <a:gd name="connsiteY38" fmla="*/ 219514 h 1915772"/>
              <a:gd name="connsiteX39" fmla="*/ 2517638 w 3409047"/>
              <a:gd name="connsiteY39" fmla="*/ 179614 h 1915772"/>
              <a:gd name="connsiteX40" fmla="*/ 3250376 w 3409047"/>
              <a:gd name="connsiteY40" fmla="*/ 49417 h 1915772"/>
              <a:gd name="connsiteX41" fmla="*/ 3355053 w 3409047"/>
              <a:gd name="connsiteY41" fmla="*/ 13718 h 1915772"/>
              <a:gd name="connsiteX42" fmla="*/ 3407391 w 3409047"/>
              <a:gd name="connsiteY42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121282 w 3409047"/>
              <a:gd name="connsiteY29" fmla="*/ 196166 h 1915772"/>
              <a:gd name="connsiteX30" fmla="*/ 2735 w 3409047"/>
              <a:gd name="connsiteY30" fmla="*/ 28141 h 1915772"/>
              <a:gd name="connsiteX31" fmla="*/ 16682 w 3409047"/>
              <a:gd name="connsiteY31" fmla="*/ 13439 h 1915772"/>
              <a:gd name="connsiteX32" fmla="*/ 414164 w 3409047"/>
              <a:gd name="connsiteY32" fmla="*/ 124755 h 1915772"/>
              <a:gd name="connsiteX33" fmla="*/ 933679 w 3409047"/>
              <a:gd name="connsiteY33" fmla="*/ 196166 h 1915772"/>
              <a:gd name="connsiteX34" fmla="*/ 1700750 w 3409047"/>
              <a:gd name="connsiteY34" fmla="*/ 227670 h 1915772"/>
              <a:gd name="connsiteX35" fmla="*/ 1700750 w 3409047"/>
              <a:gd name="connsiteY35" fmla="*/ 229443 h 1915772"/>
              <a:gd name="connsiteX36" fmla="*/ 1719476 w 3409047"/>
              <a:gd name="connsiteY36" fmla="*/ 220564 h 1915772"/>
              <a:gd name="connsiteX37" fmla="*/ 1753496 w 3409047"/>
              <a:gd name="connsiteY37" fmla="*/ 219514 h 1915772"/>
              <a:gd name="connsiteX38" fmla="*/ 2517638 w 3409047"/>
              <a:gd name="connsiteY38" fmla="*/ 179614 h 1915772"/>
              <a:gd name="connsiteX39" fmla="*/ 3250376 w 3409047"/>
              <a:gd name="connsiteY39" fmla="*/ 49417 h 1915772"/>
              <a:gd name="connsiteX40" fmla="*/ 3355053 w 3409047"/>
              <a:gd name="connsiteY40" fmla="*/ 13718 h 1915772"/>
              <a:gd name="connsiteX41" fmla="*/ 3407391 w 3409047"/>
              <a:gd name="connsiteY41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81779 w 3409047"/>
              <a:gd name="connsiteY2" fmla="*/ 196414 h 1915772"/>
              <a:gd name="connsiteX3" fmla="*/ 3260844 w 3409047"/>
              <a:gd name="connsiteY3" fmla="*/ 219514 h 1915772"/>
              <a:gd name="connsiteX4" fmla="*/ 2967748 w 3409047"/>
              <a:gd name="connsiteY4" fmla="*/ 624805 h 1915772"/>
              <a:gd name="connsiteX5" fmla="*/ 2779330 w 3409047"/>
              <a:gd name="connsiteY5" fmla="*/ 883100 h 1915772"/>
              <a:gd name="connsiteX6" fmla="*/ 2768862 w 3409047"/>
              <a:gd name="connsiteY6" fmla="*/ 908300 h 1915772"/>
              <a:gd name="connsiteX7" fmla="*/ 2664185 w 3409047"/>
              <a:gd name="connsiteY7" fmla="*/ 1046897 h 1915772"/>
              <a:gd name="connsiteX8" fmla="*/ 2643250 w 3409047"/>
              <a:gd name="connsiteY8" fmla="*/ 1072096 h 1915772"/>
              <a:gd name="connsiteX9" fmla="*/ 2531595 w 3409047"/>
              <a:gd name="connsiteY9" fmla="*/ 1219093 h 1915772"/>
              <a:gd name="connsiteX10" fmla="*/ 2332708 w 3409047"/>
              <a:gd name="connsiteY10" fmla="*/ 1492088 h 1915772"/>
              <a:gd name="connsiteX11" fmla="*/ 2318751 w 3409047"/>
              <a:gd name="connsiteY11" fmla="*/ 1538287 h 1915772"/>
              <a:gd name="connsiteX12" fmla="*/ 2318751 w 3409047"/>
              <a:gd name="connsiteY12" fmla="*/ 1800782 h 1915772"/>
              <a:gd name="connsiteX13" fmla="*/ 2221053 w 3409047"/>
              <a:gd name="connsiteY13" fmla="*/ 1878480 h 1915772"/>
              <a:gd name="connsiteX14" fmla="*/ 2015188 w 3409047"/>
              <a:gd name="connsiteY14" fmla="*/ 1909979 h 1915772"/>
              <a:gd name="connsiteX15" fmla="*/ 1690690 w 3409047"/>
              <a:gd name="connsiteY15" fmla="*/ 1914179 h 1915772"/>
              <a:gd name="connsiteX16" fmla="*/ 1690509 w 3409047"/>
              <a:gd name="connsiteY16" fmla="*/ 1913790 h 1915772"/>
              <a:gd name="connsiteX17" fmla="*/ 1690289 w 3409047"/>
              <a:gd name="connsiteY17" fmla="*/ 1914215 h 1915772"/>
              <a:gd name="connsiteX18" fmla="*/ 1414841 w 3409047"/>
              <a:gd name="connsiteY18" fmla="*/ 1907914 h 1915772"/>
              <a:gd name="connsiteX19" fmla="*/ 1386948 w 3409047"/>
              <a:gd name="connsiteY19" fmla="*/ 1910014 h 1915772"/>
              <a:gd name="connsiteX20" fmla="*/ 1198667 w 3409047"/>
              <a:gd name="connsiteY20" fmla="*/ 1880610 h 1915772"/>
              <a:gd name="connsiteX21" fmla="*/ 1114987 w 3409047"/>
              <a:gd name="connsiteY21" fmla="*/ 1859607 h 1915772"/>
              <a:gd name="connsiteX22" fmla="*/ 1073146 w 3409047"/>
              <a:gd name="connsiteY22" fmla="*/ 1815500 h 1915772"/>
              <a:gd name="connsiteX23" fmla="*/ 1073146 w 3409047"/>
              <a:gd name="connsiteY23" fmla="*/ 1733588 h 1915772"/>
              <a:gd name="connsiteX24" fmla="*/ 1073146 w 3409047"/>
              <a:gd name="connsiteY24" fmla="*/ 1708385 h 1915772"/>
              <a:gd name="connsiteX25" fmla="*/ 1073146 w 3409047"/>
              <a:gd name="connsiteY25" fmla="*/ 1544561 h 1915772"/>
              <a:gd name="connsiteX26" fmla="*/ 1073146 w 3409047"/>
              <a:gd name="connsiteY26" fmla="*/ 1519357 h 1915772"/>
              <a:gd name="connsiteX27" fmla="*/ 958086 w 3409047"/>
              <a:gd name="connsiteY27" fmla="*/ 1355534 h 1915772"/>
              <a:gd name="connsiteX28" fmla="*/ 825592 w 3409047"/>
              <a:gd name="connsiteY28" fmla="*/ 1170707 h 1915772"/>
              <a:gd name="connsiteX29" fmla="*/ 2735 w 3409047"/>
              <a:gd name="connsiteY29" fmla="*/ 28141 h 1915772"/>
              <a:gd name="connsiteX30" fmla="*/ 16682 w 3409047"/>
              <a:gd name="connsiteY30" fmla="*/ 13439 h 1915772"/>
              <a:gd name="connsiteX31" fmla="*/ 414164 w 3409047"/>
              <a:gd name="connsiteY31" fmla="*/ 124755 h 1915772"/>
              <a:gd name="connsiteX32" fmla="*/ 933679 w 3409047"/>
              <a:gd name="connsiteY32" fmla="*/ 196166 h 1915772"/>
              <a:gd name="connsiteX33" fmla="*/ 1700750 w 3409047"/>
              <a:gd name="connsiteY33" fmla="*/ 227670 h 1915772"/>
              <a:gd name="connsiteX34" fmla="*/ 1700750 w 3409047"/>
              <a:gd name="connsiteY34" fmla="*/ 229443 h 1915772"/>
              <a:gd name="connsiteX35" fmla="*/ 1719476 w 3409047"/>
              <a:gd name="connsiteY35" fmla="*/ 220564 h 1915772"/>
              <a:gd name="connsiteX36" fmla="*/ 1753496 w 3409047"/>
              <a:gd name="connsiteY36" fmla="*/ 219514 h 1915772"/>
              <a:gd name="connsiteX37" fmla="*/ 2517638 w 3409047"/>
              <a:gd name="connsiteY37" fmla="*/ 179614 h 1915772"/>
              <a:gd name="connsiteX38" fmla="*/ 3250376 w 3409047"/>
              <a:gd name="connsiteY38" fmla="*/ 49417 h 1915772"/>
              <a:gd name="connsiteX39" fmla="*/ 3355053 w 3409047"/>
              <a:gd name="connsiteY39" fmla="*/ 13718 h 1915772"/>
              <a:gd name="connsiteX40" fmla="*/ 3407391 w 3409047"/>
              <a:gd name="connsiteY40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3260844 w 3409047"/>
              <a:gd name="connsiteY2" fmla="*/ 219514 h 1915772"/>
              <a:gd name="connsiteX3" fmla="*/ 2967748 w 3409047"/>
              <a:gd name="connsiteY3" fmla="*/ 624805 h 1915772"/>
              <a:gd name="connsiteX4" fmla="*/ 2779330 w 3409047"/>
              <a:gd name="connsiteY4" fmla="*/ 883100 h 1915772"/>
              <a:gd name="connsiteX5" fmla="*/ 2768862 w 3409047"/>
              <a:gd name="connsiteY5" fmla="*/ 908300 h 1915772"/>
              <a:gd name="connsiteX6" fmla="*/ 2664185 w 3409047"/>
              <a:gd name="connsiteY6" fmla="*/ 1046897 h 1915772"/>
              <a:gd name="connsiteX7" fmla="*/ 2643250 w 3409047"/>
              <a:gd name="connsiteY7" fmla="*/ 1072096 h 1915772"/>
              <a:gd name="connsiteX8" fmla="*/ 2531595 w 3409047"/>
              <a:gd name="connsiteY8" fmla="*/ 1219093 h 1915772"/>
              <a:gd name="connsiteX9" fmla="*/ 2332708 w 3409047"/>
              <a:gd name="connsiteY9" fmla="*/ 1492088 h 1915772"/>
              <a:gd name="connsiteX10" fmla="*/ 2318751 w 3409047"/>
              <a:gd name="connsiteY10" fmla="*/ 1538287 h 1915772"/>
              <a:gd name="connsiteX11" fmla="*/ 2318751 w 3409047"/>
              <a:gd name="connsiteY11" fmla="*/ 1800782 h 1915772"/>
              <a:gd name="connsiteX12" fmla="*/ 2221053 w 3409047"/>
              <a:gd name="connsiteY12" fmla="*/ 1878480 h 1915772"/>
              <a:gd name="connsiteX13" fmla="*/ 2015188 w 3409047"/>
              <a:gd name="connsiteY13" fmla="*/ 1909979 h 1915772"/>
              <a:gd name="connsiteX14" fmla="*/ 1690690 w 3409047"/>
              <a:gd name="connsiteY14" fmla="*/ 1914179 h 1915772"/>
              <a:gd name="connsiteX15" fmla="*/ 1690509 w 3409047"/>
              <a:gd name="connsiteY15" fmla="*/ 1913790 h 1915772"/>
              <a:gd name="connsiteX16" fmla="*/ 1690289 w 3409047"/>
              <a:gd name="connsiteY16" fmla="*/ 1914215 h 1915772"/>
              <a:gd name="connsiteX17" fmla="*/ 1414841 w 3409047"/>
              <a:gd name="connsiteY17" fmla="*/ 1907914 h 1915772"/>
              <a:gd name="connsiteX18" fmla="*/ 1386948 w 3409047"/>
              <a:gd name="connsiteY18" fmla="*/ 1910014 h 1915772"/>
              <a:gd name="connsiteX19" fmla="*/ 1198667 w 3409047"/>
              <a:gd name="connsiteY19" fmla="*/ 1880610 h 1915772"/>
              <a:gd name="connsiteX20" fmla="*/ 1114987 w 3409047"/>
              <a:gd name="connsiteY20" fmla="*/ 1859607 h 1915772"/>
              <a:gd name="connsiteX21" fmla="*/ 1073146 w 3409047"/>
              <a:gd name="connsiteY21" fmla="*/ 1815500 h 1915772"/>
              <a:gd name="connsiteX22" fmla="*/ 1073146 w 3409047"/>
              <a:gd name="connsiteY22" fmla="*/ 1733588 h 1915772"/>
              <a:gd name="connsiteX23" fmla="*/ 1073146 w 3409047"/>
              <a:gd name="connsiteY23" fmla="*/ 1708385 h 1915772"/>
              <a:gd name="connsiteX24" fmla="*/ 1073146 w 3409047"/>
              <a:gd name="connsiteY24" fmla="*/ 1544561 h 1915772"/>
              <a:gd name="connsiteX25" fmla="*/ 1073146 w 3409047"/>
              <a:gd name="connsiteY25" fmla="*/ 1519357 h 1915772"/>
              <a:gd name="connsiteX26" fmla="*/ 958086 w 3409047"/>
              <a:gd name="connsiteY26" fmla="*/ 1355534 h 1915772"/>
              <a:gd name="connsiteX27" fmla="*/ 825592 w 3409047"/>
              <a:gd name="connsiteY27" fmla="*/ 1170707 h 1915772"/>
              <a:gd name="connsiteX28" fmla="*/ 2735 w 3409047"/>
              <a:gd name="connsiteY28" fmla="*/ 28141 h 1915772"/>
              <a:gd name="connsiteX29" fmla="*/ 16682 w 3409047"/>
              <a:gd name="connsiteY29" fmla="*/ 13439 h 1915772"/>
              <a:gd name="connsiteX30" fmla="*/ 414164 w 3409047"/>
              <a:gd name="connsiteY30" fmla="*/ 124755 h 1915772"/>
              <a:gd name="connsiteX31" fmla="*/ 933679 w 3409047"/>
              <a:gd name="connsiteY31" fmla="*/ 196166 h 1915772"/>
              <a:gd name="connsiteX32" fmla="*/ 1700750 w 3409047"/>
              <a:gd name="connsiteY32" fmla="*/ 227670 h 1915772"/>
              <a:gd name="connsiteX33" fmla="*/ 1700750 w 3409047"/>
              <a:gd name="connsiteY33" fmla="*/ 229443 h 1915772"/>
              <a:gd name="connsiteX34" fmla="*/ 1719476 w 3409047"/>
              <a:gd name="connsiteY34" fmla="*/ 220564 h 1915772"/>
              <a:gd name="connsiteX35" fmla="*/ 1753496 w 3409047"/>
              <a:gd name="connsiteY35" fmla="*/ 219514 h 1915772"/>
              <a:gd name="connsiteX36" fmla="*/ 2517638 w 3409047"/>
              <a:gd name="connsiteY36" fmla="*/ 179614 h 1915772"/>
              <a:gd name="connsiteX37" fmla="*/ 3250376 w 3409047"/>
              <a:gd name="connsiteY37" fmla="*/ 49417 h 1915772"/>
              <a:gd name="connsiteX38" fmla="*/ 3355053 w 3409047"/>
              <a:gd name="connsiteY38" fmla="*/ 13718 h 1915772"/>
              <a:gd name="connsiteX39" fmla="*/ 3407391 w 3409047"/>
              <a:gd name="connsiteY39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967748 w 3409047"/>
              <a:gd name="connsiteY2" fmla="*/ 624805 h 1915772"/>
              <a:gd name="connsiteX3" fmla="*/ 2779330 w 3409047"/>
              <a:gd name="connsiteY3" fmla="*/ 883100 h 1915772"/>
              <a:gd name="connsiteX4" fmla="*/ 2768862 w 3409047"/>
              <a:gd name="connsiteY4" fmla="*/ 908300 h 1915772"/>
              <a:gd name="connsiteX5" fmla="*/ 2664185 w 3409047"/>
              <a:gd name="connsiteY5" fmla="*/ 1046897 h 1915772"/>
              <a:gd name="connsiteX6" fmla="*/ 2643250 w 3409047"/>
              <a:gd name="connsiteY6" fmla="*/ 1072096 h 1915772"/>
              <a:gd name="connsiteX7" fmla="*/ 2531595 w 3409047"/>
              <a:gd name="connsiteY7" fmla="*/ 1219093 h 1915772"/>
              <a:gd name="connsiteX8" fmla="*/ 2332708 w 3409047"/>
              <a:gd name="connsiteY8" fmla="*/ 1492088 h 1915772"/>
              <a:gd name="connsiteX9" fmla="*/ 2318751 w 3409047"/>
              <a:gd name="connsiteY9" fmla="*/ 1538287 h 1915772"/>
              <a:gd name="connsiteX10" fmla="*/ 2318751 w 3409047"/>
              <a:gd name="connsiteY10" fmla="*/ 1800782 h 1915772"/>
              <a:gd name="connsiteX11" fmla="*/ 2221053 w 3409047"/>
              <a:gd name="connsiteY11" fmla="*/ 1878480 h 1915772"/>
              <a:gd name="connsiteX12" fmla="*/ 2015188 w 3409047"/>
              <a:gd name="connsiteY12" fmla="*/ 1909979 h 1915772"/>
              <a:gd name="connsiteX13" fmla="*/ 1690690 w 3409047"/>
              <a:gd name="connsiteY13" fmla="*/ 1914179 h 1915772"/>
              <a:gd name="connsiteX14" fmla="*/ 1690509 w 3409047"/>
              <a:gd name="connsiteY14" fmla="*/ 1913790 h 1915772"/>
              <a:gd name="connsiteX15" fmla="*/ 1690289 w 3409047"/>
              <a:gd name="connsiteY15" fmla="*/ 1914215 h 1915772"/>
              <a:gd name="connsiteX16" fmla="*/ 1414841 w 3409047"/>
              <a:gd name="connsiteY16" fmla="*/ 1907914 h 1915772"/>
              <a:gd name="connsiteX17" fmla="*/ 1386948 w 3409047"/>
              <a:gd name="connsiteY17" fmla="*/ 1910014 h 1915772"/>
              <a:gd name="connsiteX18" fmla="*/ 1198667 w 3409047"/>
              <a:gd name="connsiteY18" fmla="*/ 1880610 h 1915772"/>
              <a:gd name="connsiteX19" fmla="*/ 1114987 w 3409047"/>
              <a:gd name="connsiteY19" fmla="*/ 1859607 h 1915772"/>
              <a:gd name="connsiteX20" fmla="*/ 1073146 w 3409047"/>
              <a:gd name="connsiteY20" fmla="*/ 1815500 h 1915772"/>
              <a:gd name="connsiteX21" fmla="*/ 1073146 w 3409047"/>
              <a:gd name="connsiteY21" fmla="*/ 1733588 h 1915772"/>
              <a:gd name="connsiteX22" fmla="*/ 1073146 w 3409047"/>
              <a:gd name="connsiteY22" fmla="*/ 1708385 h 1915772"/>
              <a:gd name="connsiteX23" fmla="*/ 1073146 w 3409047"/>
              <a:gd name="connsiteY23" fmla="*/ 1544561 h 1915772"/>
              <a:gd name="connsiteX24" fmla="*/ 1073146 w 3409047"/>
              <a:gd name="connsiteY24" fmla="*/ 1519357 h 1915772"/>
              <a:gd name="connsiteX25" fmla="*/ 958086 w 3409047"/>
              <a:gd name="connsiteY25" fmla="*/ 1355534 h 1915772"/>
              <a:gd name="connsiteX26" fmla="*/ 825592 w 3409047"/>
              <a:gd name="connsiteY26" fmla="*/ 1170707 h 1915772"/>
              <a:gd name="connsiteX27" fmla="*/ 2735 w 3409047"/>
              <a:gd name="connsiteY27" fmla="*/ 28141 h 1915772"/>
              <a:gd name="connsiteX28" fmla="*/ 16682 w 3409047"/>
              <a:gd name="connsiteY28" fmla="*/ 13439 h 1915772"/>
              <a:gd name="connsiteX29" fmla="*/ 414164 w 3409047"/>
              <a:gd name="connsiteY29" fmla="*/ 124755 h 1915772"/>
              <a:gd name="connsiteX30" fmla="*/ 933679 w 3409047"/>
              <a:gd name="connsiteY30" fmla="*/ 196166 h 1915772"/>
              <a:gd name="connsiteX31" fmla="*/ 1700750 w 3409047"/>
              <a:gd name="connsiteY31" fmla="*/ 227670 h 1915772"/>
              <a:gd name="connsiteX32" fmla="*/ 1700750 w 3409047"/>
              <a:gd name="connsiteY32" fmla="*/ 229443 h 1915772"/>
              <a:gd name="connsiteX33" fmla="*/ 1719476 w 3409047"/>
              <a:gd name="connsiteY33" fmla="*/ 220564 h 1915772"/>
              <a:gd name="connsiteX34" fmla="*/ 1753496 w 3409047"/>
              <a:gd name="connsiteY34" fmla="*/ 219514 h 1915772"/>
              <a:gd name="connsiteX35" fmla="*/ 2517638 w 3409047"/>
              <a:gd name="connsiteY35" fmla="*/ 179614 h 1915772"/>
              <a:gd name="connsiteX36" fmla="*/ 3250376 w 3409047"/>
              <a:gd name="connsiteY36" fmla="*/ 49417 h 1915772"/>
              <a:gd name="connsiteX37" fmla="*/ 3355053 w 3409047"/>
              <a:gd name="connsiteY37" fmla="*/ 13718 h 1915772"/>
              <a:gd name="connsiteX38" fmla="*/ 3407391 w 3409047"/>
              <a:gd name="connsiteY38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779330 w 3409047"/>
              <a:gd name="connsiteY2" fmla="*/ 883100 h 1915772"/>
              <a:gd name="connsiteX3" fmla="*/ 2768862 w 3409047"/>
              <a:gd name="connsiteY3" fmla="*/ 908300 h 1915772"/>
              <a:gd name="connsiteX4" fmla="*/ 2664185 w 3409047"/>
              <a:gd name="connsiteY4" fmla="*/ 1046897 h 1915772"/>
              <a:gd name="connsiteX5" fmla="*/ 2643250 w 3409047"/>
              <a:gd name="connsiteY5" fmla="*/ 1072096 h 1915772"/>
              <a:gd name="connsiteX6" fmla="*/ 2531595 w 3409047"/>
              <a:gd name="connsiteY6" fmla="*/ 1219093 h 1915772"/>
              <a:gd name="connsiteX7" fmla="*/ 2332708 w 3409047"/>
              <a:gd name="connsiteY7" fmla="*/ 1492088 h 1915772"/>
              <a:gd name="connsiteX8" fmla="*/ 2318751 w 3409047"/>
              <a:gd name="connsiteY8" fmla="*/ 1538287 h 1915772"/>
              <a:gd name="connsiteX9" fmla="*/ 2318751 w 3409047"/>
              <a:gd name="connsiteY9" fmla="*/ 1800782 h 1915772"/>
              <a:gd name="connsiteX10" fmla="*/ 2221053 w 3409047"/>
              <a:gd name="connsiteY10" fmla="*/ 1878480 h 1915772"/>
              <a:gd name="connsiteX11" fmla="*/ 2015188 w 3409047"/>
              <a:gd name="connsiteY11" fmla="*/ 1909979 h 1915772"/>
              <a:gd name="connsiteX12" fmla="*/ 1690690 w 3409047"/>
              <a:gd name="connsiteY12" fmla="*/ 1914179 h 1915772"/>
              <a:gd name="connsiteX13" fmla="*/ 1690509 w 3409047"/>
              <a:gd name="connsiteY13" fmla="*/ 1913790 h 1915772"/>
              <a:gd name="connsiteX14" fmla="*/ 1690289 w 3409047"/>
              <a:gd name="connsiteY14" fmla="*/ 1914215 h 1915772"/>
              <a:gd name="connsiteX15" fmla="*/ 1414841 w 3409047"/>
              <a:gd name="connsiteY15" fmla="*/ 1907914 h 1915772"/>
              <a:gd name="connsiteX16" fmla="*/ 1386948 w 3409047"/>
              <a:gd name="connsiteY16" fmla="*/ 1910014 h 1915772"/>
              <a:gd name="connsiteX17" fmla="*/ 1198667 w 3409047"/>
              <a:gd name="connsiteY17" fmla="*/ 1880610 h 1915772"/>
              <a:gd name="connsiteX18" fmla="*/ 1114987 w 3409047"/>
              <a:gd name="connsiteY18" fmla="*/ 1859607 h 1915772"/>
              <a:gd name="connsiteX19" fmla="*/ 1073146 w 3409047"/>
              <a:gd name="connsiteY19" fmla="*/ 1815500 h 1915772"/>
              <a:gd name="connsiteX20" fmla="*/ 1073146 w 3409047"/>
              <a:gd name="connsiteY20" fmla="*/ 1733588 h 1915772"/>
              <a:gd name="connsiteX21" fmla="*/ 1073146 w 3409047"/>
              <a:gd name="connsiteY21" fmla="*/ 1708385 h 1915772"/>
              <a:gd name="connsiteX22" fmla="*/ 1073146 w 3409047"/>
              <a:gd name="connsiteY22" fmla="*/ 1544561 h 1915772"/>
              <a:gd name="connsiteX23" fmla="*/ 1073146 w 3409047"/>
              <a:gd name="connsiteY23" fmla="*/ 1519357 h 1915772"/>
              <a:gd name="connsiteX24" fmla="*/ 958086 w 3409047"/>
              <a:gd name="connsiteY24" fmla="*/ 1355534 h 1915772"/>
              <a:gd name="connsiteX25" fmla="*/ 825592 w 3409047"/>
              <a:gd name="connsiteY25" fmla="*/ 1170707 h 1915772"/>
              <a:gd name="connsiteX26" fmla="*/ 2735 w 3409047"/>
              <a:gd name="connsiteY26" fmla="*/ 28141 h 1915772"/>
              <a:gd name="connsiteX27" fmla="*/ 16682 w 3409047"/>
              <a:gd name="connsiteY27" fmla="*/ 13439 h 1915772"/>
              <a:gd name="connsiteX28" fmla="*/ 414164 w 3409047"/>
              <a:gd name="connsiteY28" fmla="*/ 124755 h 1915772"/>
              <a:gd name="connsiteX29" fmla="*/ 933679 w 3409047"/>
              <a:gd name="connsiteY29" fmla="*/ 196166 h 1915772"/>
              <a:gd name="connsiteX30" fmla="*/ 1700750 w 3409047"/>
              <a:gd name="connsiteY30" fmla="*/ 227670 h 1915772"/>
              <a:gd name="connsiteX31" fmla="*/ 1700750 w 3409047"/>
              <a:gd name="connsiteY31" fmla="*/ 229443 h 1915772"/>
              <a:gd name="connsiteX32" fmla="*/ 1719476 w 3409047"/>
              <a:gd name="connsiteY32" fmla="*/ 220564 h 1915772"/>
              <a:gd name="connsiteX33" fmla="*/ 1753496 w 3409047"/>
              <a:gd name="connsiteY33" fmla="*/ 219514 h 1915772"/>
              <a:gd name="connsiteX34" fmla="*/ 2517638 w 3409047"/>
              <a:gd name="connsiteY34" fmla="*/ 179614 h 1915772"/>
              <a:gd name="connsiteX35" fmla="*/ 3250376 w 3409047"/>
              <a:gd name="connsiteY35" fmla="*/ 49417 h 1915772"/>
              <a:gd name="connsiteX36" fmla="*/ 3355053 w 3409047"/>
              <a:gd name="connsiteY36" fmla="*/ 13718 h 1915772"/>
              <a:gd name="connsiteX37" fmla="*/ 3407391 w 3409047"/>
              <a:gd name="connsiteY37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768862 w 3409047"/>
              <a:gd name="connsiteY2" fmla="*/ 908300 h 1915772"/>
              <a:gd name="connsiteX3" fmla="*/ 2664185 w 3409047"/>
              <a:gd name="connsiteY3" fmla="*/ 1046897 h 1915772"/>
              <a:gd name="connsiteX4" fmla="*/ 2643250 w 3409047"/>
              <a:gd name="connsiteY4" fmla="*/ 1072096 h 1915772"/>
              <a:gd name="connsiteX5" fmla="*/ 2531595 w 3409047"/>
              <a:gd name="connsiteY5" fmla="*/ 1219093 h 1915772"/>
              <a:gd name="connsiteX6" fmla="*/ 2332708 w 3409047"/>
              <a:gd name="connsiteY6" fmla="*/ 1492088 h 1915772"/>
              <a:gd name="connsiteX7" fmla="*/ 2318751 w 3409047"/>
              <a:gd name="connsiteY7" fmla="*/ 1538287 h 1915772"/>
              <a:gd name="connsiteX8" fmla="*/ 2318751 w 3409047"/>
              <a:gd name="connsiteY8" fmla="*/ 1800782 h 1915772"/>
              <a:gd name="connsiteX9" fmla="*/ 2221053 w 3409047"/>
              <a:gd name="connsiteY9" fmla="*/ 1878480 h 1915772"/>
              <a:gd name="connsiteX10" fmla="*/ 2015188 w 3409047"/>
              <a:gd name="connsiteY10" fmla="*/ 1909979 h 1915772"/>
              <a:gd name="connsiteX11" fmla="*/ 1690690 w 3409047"/>
              <a:gd name="connsiteY11" fmla="*/ 1914179 h 1915772"/>
              <a:gd name="connsiteX12" fmla="*/ 1690509 w 3409047"/>
              <a:gd name="connsiteY12" fmla="*/ 1913790 h 1915772"/>
              <a:gd name="connsiteX13" fmla="*/ 1690289 w 3409047"/>
              <a:gd name="connsiteY13" fmla="*/ 1914215 h 1915772"/>
              <a:gd name="connsiteX14" fmla="*/ 1414841 w 3409047"/>
              <a:gd name="connsiteY14" fmla="*/ 1907914 h 1915772"/>
              <a:gd name="connsiteX15" fmla="*/ 1386948 w 3409047"/>
              <a:gd name="connsiteY15" fmla="*/ 1910014 h 1915772"/>
              <a:gd name="connsiteX16" fmla="*/ 1198667 w 3409047"/>
              <a:gd name="connsiteY16" fmla="*/ 1880610 h 1915772"/>
              <a:gd name="connsiteX17" fmla="*/ 1114987 w 3409047"/>
              <a:gd name="connsiteY17" fmla="*/ 1859607 h 1915772"/>
              <a:gd name="connsiteX18" fmla="*/ 1073146 w 3409047"/>
              <a:gd name="connsiteY18" fmla="*/ 1815500 h 1915772"/>
              <a:gd name="connsiteX19" fmla="*/ 1073146 w 3409047"/>
              <a:gd name="connsiteY19" fmla="*/ 1733588 h 1915772"/>
              <a:gd name="connsiteX20" fmla="*/ 1073146 w 3409047"/>
              <a:gd name="connsiteY20" fmla="*/ 1708385 h 1915772"/>
              <a:gd name="connsiteX21" fmla="*/ 1073146 w 3409047"/>
              <a:gd name="connsiteY21" fmla="*/ 1544561 h 1915772"/>
              <a:gd name="connsiteX22" fmla="*/ 1073146 w 3409047"/>
              <a:gd name="connsiteY22" fmla="*/ 1519357 h 1915772"/>
              <a:gd name="connsiteX23" fmla="*/ 958086 w 3409047"/>
              <a:gd name="connsiteY23" fmla="*/ 1355534 h 1915772"/>
              <a:gd name="connsiteX24" fmla="*/ 825592 w 3409047"/>
              <a:gd name="connsiteY24" fmla="*/ 1170707 h 1915772"/>
              <a:gd name="connsiteX25" fmla="*/ 2735 w 3409047"/>
              <a:gd name="connsiteY25" fmla="*/ 28141 h 1915772"/>
              <a:gd name="connsiteX26" fmla="*/ 16682 w 3409047"/>
              <a:gd name="connsiteY26" fmla="*/ 13439 h 1915772"/>
              <a:gd name="connsiteX27" fmla="*/ 414164 w 3409047"/>
              <a:gd name="connsiteY27" fmla="*/ 124755 h 1915772"/>
              <a:gd name="connsiteX28" fmla="*/ 933679 w 3409047"/>
              <a:gd name="connsiteY28" fmla="*/ 196166 h 1915772"/>
              <a:gd name="connsiteX29" fmla="*/ 1700750 w 3409047"/>
              <a:gd name="connsiteY29" fmla="*/ 227670 h 1915772"/>
              <a:gd name="connsiteX30" fmla="*/ 1700750 w 3409047"/>
              <a:gd name="connsiteY30" fmla="*/ 229443 h 1915772"/>
              <a:gd name="connsiteX31" fmla="*/ 1719476 w 3409047"/>
              <a:gd name="connsiteY31" fmla="*/ 220564 h 1915772"/>
              <a:gd name="connsiteX32" fmla="*/ 1753496 w 3409047"/>
              <a:gd name="connsiteY32" fmla="*/ 219514 h 1915772"/>
              <a:gd name="connsiteX33" fmla="*/ 2517638 w 3409047"/>
              <a:gd name="connsiteY33" fmla="*/ 179614 h 1915772"/>
              <a:gd name="connsiteX34" fmla="*/ 3250376 w 3409047"/>
              <a:gd name="connsiteY34" fmla="*/ 49417 h 1915772"/>
              <a:gd name="connsiteX35" fmla="*/ 3355053 w 3409047"/>
              <a:gd name="connsiteY35" fmla="*/ 13718 h 1915772"/>
              <a:gd name="connsiteX36" fmla="*/ 3407391 w 3409047"/>
              <a:gd name="connsiteY36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664185 w 3409047"/>
              <a:gd name="connsiteY2" fmla="*/ 1046897 h 1915772"/>
              <a:gd name="connsiteX3" fmla="*/ 2643250 w 3409047"/>
              <a:gd name="connsiteY3" fmla="*/ 1072096 h 1915772"/>
              <a:gd name="connsiteX4" fmla="*/ 2531595 w 3409047"/>
              <a:gd name="connsiteY4" fmla="*/ 1219093 h 1915772"/>
              <a:gd name="connsiteX5" fmla="*/ 2332708 w 3409047"/>
              <a:gd name="connsiteY5" fmla="*/ 1492088 h 1915772"/>
              <a:gd name="connsiteX6" fmla="*/ 2318751 w 3409047"/>
              <a:gd name="connsiteY6" fmla="*/ 1538287 h 1915772"/>
              <a:gd name="connsiteX7" fmla="*/ 2318751 w 3409047"/>
              <a:gd name="connsiteY7" fmla="*/ 1800782 h 1915772"/>
              <a:gd name="connsiteX8" fmla="*/ 2221053 w 3409047"/>
              <a:gd name="connsiteY8" fmla="*/ 1878480 h 1915772"/>
              <a:gd name="connsiteX9" fmla="*/ 2015188 w 3409047"/>
              <a:gd name="connsiteY9" fmla="*/ 1909979 h 1915772"/>
              <a:gd name="connsiteX10" fmla="*/ 1690690 w 3409047"/>
              <a:gd name="connsiteY10" fmla="*/ 1914179 h 1915772"/>
              <a:gd name="connsiteX11" fmla="*/ 1690509 w 3409047"/>
              <a:gd name="connsiteY11" fmla="*/ 1913790 h 1915772"/>
              <a:gd name="connsiteX12" fmla="*/ 1690289 w 3409047"/>
              <a:gd name="connsiteY12" fmla="*/ 1914215 h 1915772"/>
              <a:gd name="connsiteX13" fmla="*/ 1414841 w 3409047"/>
              <a:gd name="connsiteY13" fmla="*/ 1907914 h 1915772"/>
              <a:gd name="connsiteX14" fmla="*/ 1386948 w 3409047"/>
              <a:gd name="connsiteY14" fmla="*/ 1910014 h 1915772"/>
              <a:gd name="connsiteX15" fmla="*/ 1198667 w 3409047"/>
              <a:gd name="connsiteY15" fmla="*/ 1880610 h 1915772"/>
              <a:gd name="connsiteX16" fmla="*/ 1114987 w 3409047"/>
              <a:gd name="connsiteY16" fmla="*/ 1859607 h 1915772"/>
              <a:gd name="connsiteX17" fmla="*/ 1073146 w 3409047"/>
              <a:gd name="connsiteY17" fmla="*/ 1815500 h 1915772"/>
              <a:gd name="connsiteX18" fmla="*/ 1073146 w 3409047"/>
              <a:gd name="connsiteY18" fmla="*/ 1733588 h 1915772"/>
              <a:gd name="connsiteX19" fmla="*/ 1073146 w 3409047"/>
              <a:gd name="connsiteY19" fmla="*/ 1708385 h 1915772"/>
              <a:gd name="connsiteX20" fmla="*/ 1073146 w 3409047"/>
              <a:gd name="connsiteY20" fmla="*/ 1544561 h 1915772"/>
              <a:gd name="connsiteX21" fmla="*/ 1073146 w 3409047"/>
              <a:gd name="connsiteY21" fmla="*/ 1519357 h 1915772"/>
              <a:gd name="connsiteX22" fmla="*/ 958086 w 3409047"/>
              <a:gd name="connsiteY22" fmla="*/ 1355534 h 1915772"/>
              <a:gd name="connsiteX23" fmla="*/ 825592 w 3409047"/>
              <a:gd name="connsiteY23" fmla="*/ 1170707 h 1915772"/>
              <a:gd name="connsiteX24" fmla="*/ 2735 w 3409047"/>
              <a:gd name="connsiteY24" fmla="*/ 28141 h 1915772"/>
              <a:gd name="connsiteX25" fmla="*/ 16682 w 3409047"/>
              <a:gd name="connsiteY25" fmla="*/ 13439 h 1915772"/>
              <a:gd name="connsiteX26" fmla="*/ 414164 w 3409047"/>
              <a:gd name="connsiteY26" fmla="*/ 124755 h 1915772"/>
              <a:gd name="connsiteX27" fmla="*/ 933679 w 3409047"/>
              <a:gd name="connsiteY27" fmla="*/ 196166 h 1915772"/>
              <a:gd name="connsiteX28" fmla="*/ 1700750 w 3409047"/>
              <a:gd name="connsiteY28" fmla="*/ 227670 h 1915772"/>
              <a:gd name="connsiteX29" fmla="*/ 1700750 w 3409047"/>
              <a:gd name="connsiteY29" fmla="*/ 229443 h 1915772"/>
              <a:gd name="connsiteX30" fmla="*/ 1719476 w 3409047"/>
              <a:gd name="connsiteY30" fmla="*/ 220564 h 1915772"/>
              <a:gd name="connsiteX31" fmla="*/ 1753496 w 3409047"/>
              <a:gd name="connsiteY31" fmla="*/ 219514 h 1915772"/>
              <a:gd name="connsiteX32" fmla="*/ 2517638 w 3409047"/>
              <a:gd name="connsiteY32" fmla="*/ 179614 h 1915772"/>
              <a:gd name="connsiteX33" fmla="*/ 3250376 w 3409047"/>
              <a:gd name="connsiteY33" fmla="*/ 49417 h 1915772"/>
              <a:gd name="connsiteX34" fmla="*/ 3355053 w 3409047"/>
              <a:gd name="connsiteY34" fmla="*/ 13718 h 1915772"/>
              <a:gd name="connsiteX35" fmla="*/ 3407391 w 3409047"/>
              <a:gd name="connsiteY35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643250 w 3409047"/>
              <a:gd name="connsiteY2" fmla="*/ 1072096 h 1915772"/>
              <a:gd name="connsiteX3" fmla="*/ 2531595 w 3409047"/>
              <a:gd name="connsiteY3" fmla="*/ 1219093 h 1915772"/>
              <a:gd name="connsiteX4" fmla="*/ 2332708 w 3409047"/>
              <a:gd name="connsiteY4" fmla="*/ 1492088 h 1915772"/>
              <a:gd name="connsiteX5" fmla="*/ 2318751 w 3409047"/>
              <a:gd name="connsiteY5" fmla="*/ 1538287 h 1915772"/>
              <a:gd name="connsiteX6" fmla="*/ 2318751 w 3409047"/>
              <a:gd name="connsiteY6" fmla="*/ 1800782 h 1915772"/>
              <a:gd name="connsiteX7" fmla="*/ 2221053 w 3409047"/>
              <a:gd name="connsiteY7" fmla="*/ 1878480 h 1915772"/>
              <a:gd name="connsiteX8" fmla="*/ 2015188 w 3409047"/>
              <a:gd name="connsiteY8" fmla="*/ 1909979 h 1915772"/>
              <a:gd name="connsiteX9" fmla="*/ 1690690 w 3409047"/>
              <a:gd name="connsiteY9" fmla="*/ 1914179 h 1915772"/>
              <a:gd name="connsiteX10" fmla="*/ 1690509 w 3409047"/>
              <a:gd name="connsiteY10" fmla="*/ 1913790 h 1915772"/>
              <a:gd name="connsiteX11" fmla="*/ 1690289 w 3409047"/>
              <a:gd name="connsiteY11" fmla="*/ 1914215 h 1915772"/>
              <a:gd name="connsiteX12" fmla="*/ 1414841 w 3409047"/>
              <a:gd name="connsiteY12" fmla="*/ 1907914 h 1915772"/>
              <a:gd name="connsiteX13" fmla="*/ 1386948 w 3409047"/>
              <a:gd name="connsiteY13" fmla="*/ 1910014 h 1915772"/>
              <a:gd name="connsiteX14" fmla="*/ 1198667 w 3409047"/>
              <a:gd name="connsiteY14" fmla="*/ 1880610 h 1915772"/>
              <a:gd name="connsiteX15" fmla="*/ 1114987 w 3409047"/>
              <a:gd name="connsiteY15" fmla="*/ 1859607 h 1915772"/>
              <a:gd name="connsiteX16" fmla="*/ 1073146 w 3409047"/>
              <a:gd name="connsiteY16" fmla="*/ 1815500 h 1915772"/>
              <a:gd name="connsiteX17" fmla="*/ 1073146 w 3409047"/>
              <a:gd name="connsiteY17" fmla="*/ 1733588 h 1915772"/>
              <a:gd name="connsiteX18" fmla="*/ 1073146 w 3409047"/>
              <a:gd name="connsiteY18" fmla="*/ 1708385 h 1915772"/>
              <a:gd name="connsiteX19" fmla="*/ 1073146 w 3409047"/>
              <a:gd name="connsiteY19" fmla="*/ 1544561 h 1915772"/>
              <a:gd name="connsiteX20" fmla="*/ 1073146 w 3409047"/>
              <a:gd name="connsiteY20" fmla="*/ 1519357 h 1915772"/>
              <a:gd name="connsiteX21" fmla="*/ 958086 w 3409047"/>
              <a:gd name="connsiteY21" fmla="*/ 1355534 h 1915772"/>
              <a:gd name="connsiteX22" fmla="*/ 825592 w 3409047"/>
              <a:gd name="connsiteY22" fmla="*/ 1170707 h 1915772"/>
              <a:gd name="connsiteX23" fmla="*/ 2735 w 3409047"/>
              <a:gd name="connsiteY23" fmla="*/ 28141 h 1915772"/>
              <a:gd name="connsiteX24" fmla="*/ 16682 w 3409047"/>
              <a:gd name="connsiteY24" fmla="*/ 13439 h 1915772"/>
              <a:gd name="connsiteX25" fmla="*/ 414164 w 3409047"/>
              <a:gd name="connsiteY25" fmla="*/ 124755 h 1915772"/>
              <a:gd name="connsiteX26" fmla="*/ 933679 w 3409047"/>
              <a:gd name="connsiteY26" fmla="*/ 196166 h 1915772"/>
              <a:gd name="connsiteX27" fmla="*/ 1700750 w 3409047"/>
              <a:gd name="connsiteY27" fmla="*/ 227670 h 1915772"/>
              <a:gd name="connsiteX28" fmla="*/ 1700750 w 3409047"/>
              <a:gd name="connsiteY28" fmla="*/ 229443 h 1915772"/>
              <a:gd name="connsiteX29" fmla="*/ 1719476 w 3409047"/>
              <a:gd name="connsiteY29" fmla="*/ 220564 h 1915772"/>
              <a:gd name="connsiteX30" fmla="*/ 1753496 w 3409047"/>
              <a:gd name="connsiteY30" fmla="*/ 219514 h 1915772"/>
              <a:gd name="connsiteX31" fmla="*/ 2517638 w 3409047"/>
              <a:gd name="connsiteY31" fmla="*/ 179614 h 1915772"/>
              <a:gd name="connsiteX32" fmla="*/ 3250376 w 3409047"/>
              <a:gd name="connsiteY32" fmla="*/ 49417 h 1915772"/>
              <a:gd name="connsiteX33" fmla="*/ 3355053 w 3409047"/>
              <a:gd name="connsiteY33" fmla="*/ 13718 h 1915772"/>
              <a:gd name="connsiteX34" fmla="*/ 3407391 w 3409047"/>
              <a:gd name="connsiteY34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531595 w 3409047"/>
              <a:gd name="connsiteY2" fmla="*/ 1219093 h 1915772"/>
              <a:gd name="connsiteX3" fmla="*/ 2332708 w 3409047"/>
              <a:gd name="connsiteY3" fmla="*/ 1492088 h 1915772"/>
              <a:gd name="connsiteX4" fmla="*/ 2318751 w 3409047"/>
              <a:gd name="connsiteY4" fmla="*/ 1538287 h 1915772"/>
              <a:gd name="connsiteX5" fmla="*/ 2318751 w 3409047"/>
              <a:gd name="connsiteY5" fmla="*/ 1800782 h 1915772"/>
              <a:gd name="connsiteX6" fmla="*/ 2221053 w 3409047"/>
              <a:gd name="connsiteY6" fmla="*/ 1878480 h 1915772"/>
              <a:gd name="connsiteX7" fmla="*/ 2015188 w 3409047"/>
              <a:gd name="connsiteY7" fmla="*/ 1909979 h 1915772"/>
              <a:gd name="connsiteX8" fmla="*/ 1690690 w 3409047"/>
              <a:gd name="connsiteY8" fmla="*/ 1914179 h 1915772"/>
              <a:gd name="connsiteX9" fmla="*/ 1690509 w 3409047"/>
              <a:gd name="connsiteY9" fmla="*/ 1913790 h 1915772"/>
              <a:gd name="connsiteX10" fmla="*/ 1690289 w 3409047"/>
              <a:gd name="connsiteY10" fmla="*/ 1914215 h 1915772"/>
              <a:gd name="connsiteX11" fmla="*/ 1414841 w 3409047"/>
              <a:gd name="connsiteY11" fmla="*/ 1907914 h 1915772"/>
              <a:gd name="connsiteX12" fmla="*/ 1386948 w 3409047"/>
              <a:gd name="connsiteY12" fmla="*/ 1910014 h 1915772"/>
              <a:gd name="connsiteX13" fmla="*/ 1198667 w 3409047"/>
              <a:gd name="connsiteY13" fmla="*/ 1880610 h 1915772"/>
              <a:gd name="connsiteX14" fmla="*/ 1114987 w 3409047"/>
              <a:gd name="connsiteY14" fmla="*/ 1859607 h 1915772"/>
              <a:gd name="connsiteX15" fmla="*/ 1073146 w 3409047"/>
              <a:gd name="connsiteY15" fmla="*/ 1815500 h 1915772"/>
              <a:gd name="connsiteX16" fmla="*/ 1073146 w 3409047"/>
              <a:gd name="connsiteY16" fmla="*/ 1733588 h 1915772"/>
              <a:gd name="connsiteX17" fmla="*/ 1073146 w 3409047"/>
              <a:gd name="connsiteY17" fmla="*/ 1708385 h 1915772"/>
              <a:gd name="connsiteX18" fmla="*/ 1073146 w 3409047"/>
              <a:gd name="connsiteY18" fmla="*/ 1544561 h 1915772"/>
              <a:gd name="connsiteX19" fmla="*/ 1073146 w 3409047"/>
              <a:gd name="connsiteY19" fmla="*/ 1519357 h 1915772"/>
              <a:gd name="connsiteX20" fmla="*/ 958086 w 3409047"/>
              <a:gd name="connsiteY20" fmla="*/ 1355534 h 1915772"/>
              <a:gd name="connsiteX21" fmla="*/ 825592 w 3409047"/>
              <a:gd name="connsiteY21" fmla="*/ 1170707 h 1915772"/>
              <a:gd name="connsiteX22" fmla="*/ 2735 w 3409047"/>
              <a:gd name="connsiteY22" fmla="*/ 28141 h 1915772"/>
              <a:gd name="connsiteX23" fmla="*/ 16682 w 3409047"/>
              <a:gd name="connsiteY23" fmla="*/ 13439 h 1915772"/>
              <a:gd name="connsiteX24" fmla="*/ 414164 w 3409047"/>
              <a:gd name="connsiteY24" fmla="*/ 124755 h 1915772"/>
              <a:gd name="connsiteX25" fmla="*/ 933679 w 3409047"/>
              <a:gd name="connsiteY25" fmla="*/ 196166 h 1915772"/>
              <a:gd name="connsiteX26" fmla="*/ 1700750 w 3409047"/>
              <a:gd name="connsiteY26" fmla="*/ 227670 h 1915772"/>
              <a:gd name="connsiteX27" fmla="*/ 1700750 w 3409047"/>
              <a:gd name="connsiteY27" fmla="*/ 229443 h 1915772"/>
              <a:gd name="connsiteX28" fmla="*/ 1719476 w 3409047"/>
              <a:gd name="connsiteY28" fmla="*/ 220564 h 1915772"/>
              <a:gd name="connsiteX29" fmla="*/ 1753496 w 3409047"/>
              <a:gd name="connsiteY29" fmla="*/ 219514 h 1915772"/>
              <a:gd name="connsiteX30" fmla="*/ 2517638 w 3409047"/>
              <a:gd name="connsiteY30" fmla="*/ 179614 h 1915772"/>
              <a:gd name="connsiteX31" fmla="*/ 3250376 w 3409047"/>
              <a:gd name="connsiteY31" fmla="*/ 49417 h 1915772"/>
              <a:gd name="connsiteX32" fmla="*/ 3355053 w 3409047"/>
              <a:gd name="connsiteY32" fmla="*/ 13718 h 1915772"/>
              <a:gd name="connsiteX33" fmla="*/ 3407391 w 3409047"/>
              <a:gd name="connsiteY33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531595 w 3409047"/>
              <a:gd name="connsiteY2" fmla="*/ 1219093 h 1915772"/>
              <a:gd name="connsiteX3" fmla="*/ 2332708 w 3409047"/>
              <a:gd name="connsiteY3" fmla="*/ 1492088 h 1915772"/>
              <a:gd name="connsiteX4" fmla="*/ 2318751 w 3409047"/>
              <a:gd name="connsiteY4" fmla="*/ 1538287 h 1915772"/>
              <a:gd name="connsiteX5" fmla="*/ 2318751 w 3409047"/>
              <a:gd name="connsiteY5" fmla="*/ 1800782 h 1915772"/>
              <a:gd name="connsiteX6" fmla="*/ 2221053 w 3409047"/>
              <a:gd name="connsiteY6" fmla="*/ 1878480 h 1915772"/>
              <a:gd name="connsiteX7" fmla="*/ 2015188 w 3409047"/>
              <a:gd name="connsiteY7" fmla="*/ 1909979 h 1915772"/>
              <a:gd name="connsiteX8" fmla="*/ 1690690 w 3409047"/>
              <a:gd name="connsiteY8" fmla="*/ 1914179 h 1915772"/>
              <a:gd name="connsiteX9" fmla="*/ 1690509 w 3409047"/>
              <a:gd name="connsiteY9" fmla="*/ 1913790 h 1915772"/>
              <a:gd name="connsiteX10" fmla="*/ 1690289 w 3409047"/>
              <a:gd name="connsiteY10" fmla="*/ 1914215 h 1915772"/>
              <a:gd name="connsiteX11" fmla="*/ 1414841 w 3409047"/>
              <a:gd name="connsiteY11" fmla="*/ 1907914 h 1915772"/>
              <a:gd name="connsiteX12" fmla="*/ 1386948 w 3409047"/>
              <a:gd name="connsiteY12" fmla="*/ 1910014 h 1915772"/>
              <a:gd name="connsiteX13" fmla="*/ 1198667 w 3409047"/>
              <a:gd name="connsiteY13" fmla="*/ 1880610 h 1915772"/>
              <a:gd name="connsiteX14" fmla="*/ 1114987 w 3409047"/>
              <a:gd name="connsiteY14" fmla="*/ 1859607 h 1915772"/>
              <a:gd name="connsiteX15" fmla="*/ 1073146 w 3409047"/>
              <a:gd name="connsiteY15" fmla="*/ 1815500 h 1915772"/>
              <a:gd name="connsiteX16" fmla="*/ 1073146 w 3409047"/>
              <a:gd name="connsiteY16" fmla="*/ 1733588 h 1915772"/>
              <a:gd name="connsiteX17" fmla="*/ 1073146 w 3409047"/>
              <a:gd name="connsiteY17" fmla="*/ 1708385 h 1915772"/>
              <a:gd name="connsiteX18" fmla="*/ 1073146 w 3409047"/>
              <a:gd name="connsiteY18" fmla="*/ 1519357 h 1915772"/>
              <a:gd name="connsiteX19" fmla="*/ 958086 w 3409047"/>
              <a:gd name="connsiteY19" fmla="*/ 1355534 h 1915772"/>
              <a:gd name="connsiteX20" fmla="*/ 825592 w 3409047"/>
              <a:gd name="connsiteY20" fmla="*/ 1170707 h 1915772"/>
              <a:gd name="connsiteX21" fmla="*/ 2735 w 3409047"/>
              <a:gd name="connsiteY21" fmla="*/ 28141 h 1915772"/>
              <a:gd name="connsiteX22" fmla="*/ 16682 w 3409047"/>
              <a:gd name="connsiteY22" fmla="*/ 13439 h 1915772"/>
              <a:gd name="connsiteX23" fmla="*/ 414164 w 3409047"/>
              <a:gd name="connsiteY23" fmla="*/ 124755 h 1915772"/>
              <a:gd name="connsiteX24" fmla="*/ 933679 w 3409047"/>
              <a:gd name="connsiteY24" fmla="*/ 196166 h 1915772"/>
              <a:gd name="connsiteX25" fmla="*/ 1700750 w 3409047"/>
              <a:gd name="connsiteY25" fmla="*/ 227670 h 1915772"/>
              <a:gd name="connsiteX26" fmla="*/ 1700750 w 3409047"/>
              <a:gd name="connsiteY26" fmla="*/ 229443 h 1915772"/>
              <a:gd name="connsiteX27" fmla="*/ 1719476 w 3409047"/>
              <a:gd name="connsiteY27" fmla="*/ 220564 h 1915772"/>
              <a:gd name="connsiteX28" fmla="*/ 1753496 w 3409047"/>
              <a:gd name="connsiteY28" fmla="*/ 219514 h 1915772"/>
              <a:gd name="connsiteX29" fmla="*/ 2517638 w 3409047"/>
              <a:gd name="connsiteY29" fmla="*/ 179614 h 1915772"/>
              <a:gd name="connsiteX30" fmla="*/ 3250376 w 3409047"/>
              <a:gd name="connsiteY30" fmla="*/ 49417 h 1915772"/>
              <a:gd name="connsiteX31" fmla="*/ 3355053 w 3409047"/>
              <a:gd name="connsiteY31" fmla="*/ 13718 h 1915772"/>
              <a:gd name="connsiteX32" fmla="*/ 3407391 w 3409047"/>
              <a:gd name="connsiteY32" fmla="*/ 1118 h 1915772"/>
              <a:gd name="connsiteX0" fmla="*/ 3407391 w 3409047"/>
              <a:gd name="connsiteY0" fmla="*/ 1118 h 1915772"/>
              <a:gd name="connsiteX1" fmla="*/ 3358542 w 3409047"/>
              <a:gd name="connsiteY1" fmla="*/ 87216 h 1915772"/>
              <a:gd name="connsiteX2" fmla="*/ 2531595 w 3409047"/>
              <a:gd name="connsiteY2" fmla="*/ 1219093 h 1915772"/>
              <a:gd name="connsiteX3" fmla="*/ 2332708 w 3409047"/>
              <a:gd name="connsiteY3" fmla="*/ 1492088 h 1915772"/>
              <a:gd name="connsiteX4" fmla="*/ 2318751 w 3409047"/>
              <a:gd name="connsiteY4" fmla="*/ 1538287 h 1915772"/>
              <a:gd name="connsiteX5" fmla="*/ 2318751 w 3409047"/>
              <a:gd name="connsiteY5" fmla="*/ 1800782 h 1915772"/>
              <a:gd name="connsiteX6" fmla="*/ 2221053 w 3409047"/>
              <a:gd name="connsiteY6" fmla="*/ 1878480 h 1915772"/>
              <a:gd name="connsiteX7" fmla="*/ 2015188 w 3409047"/>
              <a:gd name="connsiteY7" fmla="*/ 1909979 h 1915772"/>
              <a:gd name="connsiteX8" fmla="*/ 1690690 w 3409047"/>
              <a:gd name="connsiteY8" fmla="*/ 1914179 h 1915772"/>
              <a:gd name="connsiteX9" fmla="*/ 1690509 w 3409047"/>
              <a:gd name="connsiteY9" fmla="*/ 1913790 h 1915772"/>
              <a:gd name="connsiteX10" fmla="*/ 1690289 w 3409047"/>
              <a:gd name="connsiteY10" fmla="*/ 1914215 h 1915772"/>
              <a:gd name="connsiteX11" fmla="*/ 1414841 w 3409047"/>
              <a:gd name="connsiteY11" fmla="*/ 1907914 h 1915772"/>
              <a:gd name="connsiteX12" fmla="*/ 1198667 w 3409047"/>
              <a:gd name="connsiteY12" fmla="*/ 1880610 h 1915772"/>
              <a:gd name="connsiteX13" fmla="*/ 1114987 w 3409047"/>
              <a:gd name="connsiteY13" fmla="*/ 1859607 h 1915772"/>
              <a:gd name="connsiteX14" fmla="*/ 1073146 w 3409047"/>
              <a:gd name="connsiteY14" fmla="*/ 1815500 h 1915772"/>
              <a:gd name="connsiteX15" fmla="*/ 1073146 w 3409047"/>
              <a:gd name="connsiteY15" fmla="*/ 1733588 h 1915772"/>
              <a:gd name="connsiteX16" fmla="*/ 1073146 w 3409047"/>
              <a:gd name="connsiteY16" fmla="*/ 1708385 h 1915772"/>
              <a:gd name="connsiteX17" fmla="*/ 1073146 w 3409047"/>
              <a:gd name="connsiteY17" fmla="*/ 1519357 h 1915772"/>
              <a:gd name="connsiteX18" fmla="*/ 958086 w 3409047"/>
              <a:gd name="connsiteY18" fmla="*/ 1355534 h 1915772"/>
              <a:gd name="connsiteX19" fmla="*/ 825592 w 3409047"/>
              <a:gd name="connsiteY19" fmla="*/ 1170707 h 1915772"/>
              <a:gd name="connsiteX20" fmla="*/ 2735 w 3409047"/>
              <a:gd name="connsiteY20" fmla="*/ 28141 h 1915772"/>
              <a:gd name="connsiteX21" fmla="*/ 16682 w 3409047"/>
              <a:gd name="connsiteY21" fmla="*/ 13439 h 1915772"/>
              <a:gd name="connsiteX22" fmla="*/ 414164 w 3409047"/>
              <a:gd name="connsiteY22" fmla="*/ 124755 h 1915772"/>
              <a:gd name="connsiteX23" fmla="*/ 933679 w 3409047"/>
              <a:gd name="connsiteY23" fmla="*/ 196166 h 1915772"/>
              <a:gd name="connsiteX24" fmla="*/ 1700750 w 3409047"/>
              <a:gd name="connsiteY24" fmla="*/ 227670 h 1915772"/>
              <a:gd name="connsiteX25" fmla="*/ 1700750 w 3409047"/>
              <a:gd name="connsiteY25" fmla="*/ 229443 h 1915772"/>
              <a:gd name="connsiteX26" fmla="*/ 1719476 w 3409047"/>
              <a:gd name="connsiteY26" fmla="*/ 220564 h 1915772"/>
              <a:gd name="connsiteX27" fmla="*/ 1753496 w 3409047"/>
              <a:gd name="connsiteY27" fmla="*/ 219514 h 1915772"/>
              <a:gd name="connsiteX28" fmla="*/ 2517638 w 3409047"/>
              <a:gd name="connsiteY28" fmla="*/ 179614 h 1915772"/>
              <a:gd name="connsiteX29" fmla="*/ 3250376 w 3409047"/>
              <a:gd name="connsiteY29" fmla="*/ 49417 h 1915772"/>
              <a:gd name="connsiteX30" fmla="*/ 3355053 w 3409047"/>
              <a:gd name="connsiteY30" fmla="*/ 13718 h 1915772"/>
              <a:gd name="connsiteX31" fmla="*/ 3407391 w 3409047"/>
              <a:gd name="connsiteY31" fmla="*/ 1118 h 1915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409047" h="1915772">
                <a:moveTo>
                  <a:pt x="3407391" y="1118"/>
                </a:moveTo>
                <a:cubicBezTo>
                  <a:pt x="3417859" y="34717"/>
                  <a:pt x="3375988" y="57817"/>
                  <a:pt x="3358542" y="87216"/>
                </a:cubicBezTo>
                <a:cubicBezTo>
                  <a:pt x="3212576" y="290212"/>
                  <a:pt x="2702567" y="984948"/>
                  <a:pt x="2531595" y="1219093"/>
                </a:cubicBezTo>
                <a:cubicBezTo>
                  <a:pt x="2465299" y="1309392"/>
                  <a:pt x="2402493" y="1401790"/>
                  <a:pt x="2332708" y="1492088"/>
                </a:cubicBezTo>
                <a:cubicBezTo>
                  <a:pt x="2322241" y="1506788"/>
                  <a:pt x="2318751" y="1521487"/>
                  <a:pt x="2318751" y="1538287"/>
                </a:cubicBezTo>
                <a:lnTo>
                  <a:pt x="2318751" y="1800782"/>
                </a:lnTo>
                <a:cubicBezTo>
                  <a:pt x="2318751" y="1851181"/>
                  <a:pt x="2301305" y="1863780"/>
                  <a:pt x="2221053" y="1878480"/>
                </a:cubicBezTo>
                <a:lnTo>
                  <a:pt x="2015188" y="1909979"/>
                </a:lnTo>
                <a:cubicBezTo>
                  <a:pt x="1907022" y="1905779"/>
                  <a:pt x="1798856" y="1920479"/>
                  <a:pt x="1690690" y="1914179"/>
                </a:cubicBezTo>
                <a:cubicBezTo>
                  <a:pt x="1690630" y="1914049"/>
                  <a:pt x="1690569" y="1913920"/>
                  <a:pt x="1690509" y="1913790"/>
                </a:cubicBezTo>
                <a:cubicBezTo>
                  <a:pt x="1690436" y="1913932"/>
                  <a:pt x="1690362" y="1914073"/>
                  <a:pt x="1690289" y="1914215"/>
                </a:cubicBezTo>
                <a:cubicBezTo>
                  <a:pt x="1596149" y="1918415"/>
                  <a:pt x="1505495" y="1910014"/>
                  <a:pt x="1414841" y="1907914"/>
                </a:cubicBezTo>
                <a:cubicBezTo>
                  <a:pt x="1332904" y="1902313"/>
                  <a:pt x="1248643" y="1888661"/>
                  <a:pt x="1198667" y="1880610"/>
                </a:cubicBezTo>
                <a:cubicBezTo>
                  <a:pt x="1170774" y="1874309"/>
                  <a:pt x="1142880" y="1865908"/>
                  <a:pt x="1114987" y="1859607"/>
                </a:cubicBezTo>
                <a:cubicBezTo>
                  <a:pt x="1087093" y="1851205"/>
                  <a:pt x="1069660" y="1836503"/>
                  <a:pt x="1073146" y="1815500"/>
                </a:cubicBezTo>
                <a:lnTo>
                  <a:pt x="1073146" y="1733588"/>
                </a:lnTo>
                <a:cubicBezTo>
                  <a:pt x="1062686" y="1725187"/>
                  <a:pt x="1062686" y="1716786"/>
                  <a:pt x="1073146" y="1708385"/>
                </a:cubicBezTo>
                <a:lnTo>
                  <a:pt x="1073146" y="1519357"/>
                </a:lnTo>
                <a:cubicBezTo>
                  <a:pt x="1031306" y="1464749"/>
                  <a:pt x="996439" y="1410142"/>
                  <a:pt x="958086" y="1355534"/>
                </a:cubicBezTo>
                <a:cubicBezTo>
                  <a:pt x="912759" y="1294625"/>
                  <a:pt x="867432" y="1231616"/>
                  <a:pt x="825592" y="1170707"/>
                </a:cubicBezTo>
                <a:lnTo>
                  <a:pt x="2735" y="28141"/>
                </a:lnTo>
                <a:cubicBezTo>
                  <a:pt x="-4238" y="17640"/>
                  <a:pt x="2735" y="13439"/>
                  <a:pt x="16682" y="13439"/>
                </a:cubicBezTo>
                <a:cubicBezTo>
                  <a:pt x="138716" y="63846"/>
                  <a:pt x="274696" y="97451"/>
                  <a:pt x="414164" y="124755"/>
                </a:cubicBezTo>
                <a:cubicBezTo>
                  <a:pt x="585011" y="156260"/>
                  <a:pt x="755858" y="181463"/>
                  <a:pt x="933679" y="196166"/>
                </a:cubicBezTo>
                <a:cubicBezTo>
                  <a:pt x="1188207" y="217169"/>
                  <a:pt x="1442735" y="229770"/>
                  <a:pt x="1700750" y="227670"/>
                </a:cubicBezTo>
                <a:lnTo>
                  <a:pt x="1700750" y="229443"/>
                </a:lnTo>
                <a:lnTo>
                  <a:pt x="1719476" y="220564"/>
                </a:lnTo>
                <a:cubicBezTo>
                  <a:pt x="1730816" y="218989"/>
                  <a:pt x="1743029" y="219514"/>
                  <a:pt x="1753496" y="219514"/>
                </a:cubicBezTo>
                <a:cubicBezTo>
                  <a:pt x="2011699" y="217414"/>
                  <a:pt x="2266413" y="204814"/>
                  <a:pt x="2517638" y="179614"/>
                </a:cubicBezTo>
                <a:cubicBezTo>
                  <a:pt x="2772351" y="154415"/>
                  <a:pt x="3020087" y="120816"/>
                  <a:pt x="3250376" y="49417"/>
                </a:cubicBezTo>
                <a:cubicBezTo>
                  <a:pt x="3288758" y="38917"/>
                  <a:pt x="3320161" y="26318"/>
                  <a:pt x="3355053" y="13718"/>
                </a:cubicBezTo>
                <a:cubicBezTo>
                  <a:pt x="3369010" y="5318"/>
                  <a:pt x="3382967" y="-3082"/>
                  <a:pt x="3407391" y="11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E8FB423-E07A-E845-8A56-3525DF01685B}"/>
              </a:ext>
            </a:extLst>
          </p:cNvPr>
          <p:cNvSpPr/>
          <p:nvPr/>
        </p:nvSpPr>
        <p:spPr>
          <a:xfrm>
            <a:off x="3202800" y="3084789"/>
            <a:ext cx="3493410" cy="64127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8" name="Freeform 49">
            <a:extLst>
              <a:ext uri="{FF2B5EF4-FFF2-40B4-BE49-F238E27FC236}">
                <a16:creationId xmlns:a16="http://schemas.microsoft.com/office/drawing/2014/main" id="{B341F3E1-4DEC-5642-AF3C-441538ADA177}"/>
              </a:ext>
            </a:extLst>
          </p:cNvPr>
          <p:cNvSpPr/>
          <p:nvPr/>
        </p:nvSpPr>
        <p:spPr>
          <a:xfrm flipH="1">
            <a:off x="417515" y="2734030"/>
            <a:ext cx="4809188" cy="979944"/>
          </a:xfrm>
          <a:custGeom>
            <a:avLst/>
            <a:gdLst>
              <a:gd name="connsiteX0" fmla="*/ 845343 w 2664620"/>
              <a:gd name="connsiteY0" fmla="*/ 439 h 765809"/>
              <a:gd name="connsiteX1" fmla="*/ 427581 w 2664620"/>
              <a:gd name="connsiteY1" fmla="*/ 439 h 765809"/>
              <a:gd name="connsiteX2" fmla="*/ 0 w 2664620"/>
              <a:gd name="connsiteY2" fmla="*/ 428020 h 765809"/>
              <a:gd name="connsiteX3" fmla="*/ 0 w 2664620"/>
              <a:gd name="connsiteY3" fmla="*/ 765809 h 765809"/>
              <a:gd name="connsiteX4" fmla="*/ 315345 w 2664620"/>
              <a:gd name="connsiteY4" fmla="*/ 765809 h 765809"/>
              <a:gd name="connsiteX5" fmla="*/ 315345 w 2664620"/>
              <a:gd name="connsiteY5" fmla="*/ 428020 h 765809"/>
              <a:gd name="connsiteX6" fmla="*/ 427581 w 2664620"/>
              <a:gd name="connsiteY6" fmla="*/ 315784 h 765809"/>
              <a:gd name="connsiteX7" fmla="*/ 845343 w 2664620"/>
              <a:gd name="connsiteY7" fmla="*/ 315784 h 765809"/>
              <a:gd name="connsiteX8" fmla="*/ 2664620 w 2664620"/>
              <a:gd name="connsiteY8" fmla="*/ 0 h 765809"/>
              <a:gd name="connsiteX9" fmla="*/ 845344 w 2664620"/>
              <a:gd name="connsiteY9" fmla="*/ 0 h 765809"/>
              <a:gd name="connsiteX10" fmla="*/ 845344 w 2664620"/>
              <a:gd name="connsiteY10" fmla="*/ 316706 h 765809"/>
              <a:gd name="connsiteX11" fmla="*/ 2664620 w 2664620"/>
              <a:gd name="connsiteY11" fmla="*/ 316706 h 765809"/>
              <a:gd name="connsiteX0" fmla="*/ 845343 w 2664620"/>
              <a:gd name="connsiteY0" fmla="*/ 439 h 779674"/>
              <a:gd name="connsiteX1" fmla="*/ 427581 w 2664620"/>
              <a:gd name="connsiteY1" fmla="*/ 439 h 779674"/>
              <a:gd name="connsiteX2" fmla="*/ 0 w 2664620"/>
              <a:gd name="connsiteY2" fmla="*/ 428020 h 779674"/>
              <a:gd name="connsiteX3" fmla="*/ 0 w 2664620"/>
              <a:gd name="connsiteY3" fmla="*/ 765809 h 779674"/>
              <a:gd name="connsiteX4" fmla="*/ 242105 w 2664620"/>
              <a:gd name="connsiteY4" fmla="*/ 779653 h 779674"/>
              <a:gd name="connsiteX5" fmla="*/ 315345 w 2664620"/>
              <a:gd name="connsiteY5" fmla="*/ 765809 h 779674"/>
              <a:gd name="connsiteX6" fmla="*/ 315345 w 2664620"/>
              <a:gd name="connsiteY6" fmla="*/ 428020 h 779674"/>
              <a:gd name="connsiteX7" fmla="*/ 427581 w 2664620"/>
              <a:gd name="connsiteY7" fmla="*/ 315784 h 779674"/>
              <a:gd name="connsiteX8" fmla="*/ 845343 w 2664620"/>
              <a:gd name="connsiteY8" fmla="*/ 315784 h 779674"/>
              <a:gd name="connsiteX9" fmla="*/ 845343 w 2664620"/>
              <a:gd name="connsiteY9" fmla="*/ 439 h 779674"/>
              <a:gd name="connsiteX10" fmla="*/ 2664620 w 2664620"/>
              <a:gd name="connsiteY10" fmla="*/ 0 h 779674"/>
              <a:gd name="connsiteX11" fmla="*/ 845344 w 2664620"/>
              <a:gd name="connsiteY11" fmla="*/ 0 h 779674"/>
              <a:gd name="connsiteX12" fmla="*/ 845344 w 2664620"/>
              <a:gd name="connsiteY12" fmla="*/ 316706 h 779674"/>
              <a:gd name="connsiteX13" fmla="*/ 2664620 w 2664620"/>
              <a:gd name="connsiteY13" fmla="*/ 316706 h 779674"/>
              <a:gd name="connsiteX14" fmla="*/ 2664620 w 2664620"/>
              <a:gd name="connsiteY14" fmla="*/ 0 h 779674"/>
              <a:gd name="connsiteX0" fmla="*/ 845343 w 2664620"/>
              <a:gd name="connsiteY0" fmla="*/ 439 h 779674"/>
              <a:gd name="connsiteX1" fmla="*/ 427581 w 2664620"/>
              <a:gd name="connsiteY1" fmla="*/ 439 h 779674"/>
              <a:gd name="connsiteX2" fmla="*/ 0 w 2664620"/>
              <a:gd name="connsiteY2" fmla="*/ 428020 h 779674"/>
              <a:gd name="connsiteX3" fmla="*/ 0 w 2664620"/>
              <a:gd name="connsiteY3" fmla="*/ 765809 h 779674"/>
              <a:gd name="connsiteX4" fmla="*/ 242105 w 2664620"/>
              <a:gd name="connsiteY4" fmla="*/ 779653 h 779674"/>
              <a:gd name="connsiteX5" fmla="*/ 313452 w 2664620"/>
              <a:gd name="connsiteY5" fmla="*/ 773722 h 779674"/>
              <a:gd name="connsiteX6" fmla="*/ 315345 w 2664620"/>
              <a:gd name="connsiteY6" fmla="*/ 428020 h 779674"/>
              <a:gd name="connsiteX7" fmla="*/ 427581 w 2664620"/>
              <a:gd name="connsiteY7" fmla="*/ 315784 h 779674"/>
              <a:gd name="connsiteX8" fmla="*/ 845343 w 2664620"/>
              <a:gd name="connsiteY8" fmla="*/ 315784 h 779674"/>
              <a:gd name="connsiteX9" fmla="*/ 845343 w 2664620"/>
              <a:gd name="connsiteY9" fmla="*/ 439 h 779674"/>
              <a:gd name="connsiteX10" fmla="*/ 2664620 w 2664620"/>
              <a:gd name="connsiteY10" fmla="*/ 0 h 779674"/>
              <a:gd name="connsiteX11" fmla="*/ 845344 w 2664620"/>
              <a:gd name="connsiteY11" fmla="*/ 0 h 779674"/>
              <a:gd name="connsiteX12" fmla="*/ 845344 w 2664620"/>
              <a:gd name="connsiteY12" fmla="*/ 316706 h 779674"/>
              <a:gd name="connsiteX13" fmla="*/ 2664620 w 2664620"/>
              <a:gd name="connsiteY13" fmla="*/ 316706 h 779674"/>
              <a:gd name="connsiteX14" fmla="*/ 2664620 w 2664620"/>
              <a:gd name="connsiteY14" fmla="*/ 0 h 779674"/>
              <a:gd name="connsiteX0" fmla="*/ 849129 w 2668406"/>
              <a:gd name="connsiteY0" fmla="*/ 439 h 779653"/>
              <a:gd name="connsiteX1" fmla="*/ 431367 w 2668406"/>
              <a:gd name="connsiteY1" fmla="*/ 439 h 779653"/>
              <a:gd name="connsiteX2" fmla="*/ 3786 w 2668406"/>
              <a:gd name="connsiteY2" fmla="*/ 428020 h 779653"/>
              <a:gd name="connsiteX3" fmla="*/ 0 w 2668406"/>
              <a:gd name="connsiteY3" fmla="*/ 778997 h 779653"/>
              <a:gd name="connsiteX4" fmla="*/ 245891 w 2668406"/>
              <a:gd name="connsiteY4" fmla="*/ 779653 h 779653"/>
              <a:gd name="connsiteX5" fmla="*/ 317238 w 2668406"/>
              <a:gd name="connsiteY5" fmla="*/ 773722 h 779653"/>
              <a:gd name="connsiteX6" fmla="*/ 319131 w 2668406"/>
              <a:gd name="connsiteY6" fmla="*/ 428020 h 779653"/>
              <a:gd name="connsiteX7" fmla="*/ 431367 w 2668406"/>
              <a:gd name="connsiteY7" fmla="*/ 315784 h 779653"/>
              <a:gd name="connsiteX8" fmla="*/ 849129 w 2668406"/>
              <a:gd name="connsiteY8" fmla="*/ 315784 h 779653"/>
              <a:gd name="connsiteX9" fmla="*/ 849129 w 2668406"/>
              <a:gd name="connsiteY9" fmla="*/ 439 h 779653"/>
              <a:gd name="connsiteX10" fmla="*/ 2668406 w 2668406"/>
              <a:gd name="connsiteY10" fmla="*/ 0 h 779653"/>
              <a:gd name="connsiteX11" fmla="*/ 849130 w 2668406"/>
              <a:gd name="connsiteY11" fmla="*/ 0 h 779653"/>
              <a:gd name="connsiteX12" fmla="*/ 849130 w 2668406"/>
              <a:gd name="connsiteY12" fmla="*/ 316706 h 779653"/>
              <a:gd name="connsiteX13" fmla="*/ 2668406 w 2668406"/>
              <a:gd name="connsiteY13" fmla="*/ 316706 h 779653"/>
              <a:gd name="connsiteX14" fmla="*/ 2668406 w 2668406"/>
              <a:gd name="connsiteY14" fmla="*/ 0 h 779653"/>
              <a:gd name="connsiteX0" fmla="*/ 849129 w 2668406"/>
              <a:gd name="connsiteY0" fmla="*/ 439 h 782354"/>
              <a:gd name="connsiteX1" fmla="*/ 431367 w 2668406"/>
              <a:gd name="connsiteY1" fmla="*/ 439 h 782354"/>
              <a:gd name="connsiteX2" fmla="*/ 3786 w 2668406"/>
              <a:gd name="connsiteY2" fmla="*/ 428020 h 782354"/>
              <a:gd name="connsiteX3" fmla="*/ 0 w 2668406"/>
              <a:gd name="connsiteY3" fmla="*/ 778997 h 782354"/>
              <a:gd name="connsiteX4" fmla="*/ 119052 w 2668406"/>
              <a:gd name="connsiteY4" fmla="*/ 782290 h 782354"/>
              <a:gd name="connsiteX5" fmla="*/ 245891 w 2668406"/>
              <a:gd name="connsiteY5" fmla="*/ 779653 h 782354"/>
              <a:gd name="connsiteX6" fmla="*/ 317238 w 2668406"/>
              <a:gd name="connsiteY6" fmla="*/ 773722 h 782354"/>
              <a:gd name="connsiteX7" fmla="*/ 319131 w 2668406"/>
              <a:gd name="connsiteY7" fmla="*/ 428020 h 782354"/>
              <a:gd name="connsiteX8" fmla="*/ 431367 w 2668406"/>
              <a:gd name="connsiteY8" fmla="*/ 315784 h 782354"/>
              <a:gd name="connsiteX9" fmla="*/ 849129 w 2668406"/>
              <a:gd name="connsiteY9" fmla="*/ 315784 h 782354"/>
              <a:gd name="connsiteX10" fmla="*/ 849129 w 2668406"/>
              <a:gd name="connsiteY10" fmla="*/ 439 h 782354"/>
              <a:gd name="connsiteX11" fmla="*/ 2668406 w 2668406"/>
              <a:gd name="connsiteY11" fmla="*/ 0 h 782354"/>
              <a:gd name="connsiteX12" fmla="*/ 849130 w 2668406"/>
              <a:gd name="connsiteY12" fmla="*/ 0 h 782354"/>
              <a:gd name="connsiteX13" fmla="*/ 849130 w 2668406"/>
              <a:gd name="connsiteY13" fmla="*/ 316706 h 782354"/>
              <a:gd name="connsiteX14" fmla="*/ 2668406 w 2668406"/>
              <a:gd name="connsiteY14" fmla="*/ 316706 h 782354"/>
              <a:gd name="connsiteX15" fmla="*/ 2668406 w 2668406"/>
              <a:gd name="connsiteY15" fmla="*/ 0 h 782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668406" h="782354">
                <a:moveTo>
                  <a:pt x="849129" y="439"/>
                </a:moveTo>
                <a:lnTo>
                  <a:pt x="431367" y="439"/>
                </a:lnTo>
                <a:cubicBezTo>
                  <a:pt x="195221" y="439"/>
                  <a:pt x="3786" y="191874"/>
                  <a:pt x="3786" y="428020"/>
                </a:cubicBezTo>
                <a:lnTo>
                  <a:pt x="0" y="778997"/>
                </a:lnTo>
                <a:cubicBezTo>
                  <a:pt x="40315" y="778336"/>
                  <a:pt x="78737" y="782951"/>
                  <a:pt x="119052" y="782290"/>
                </a:cubicBezTo>
                <a:lnTo>
                  <a:pt x="245891" y="779653"/>
                </a:lnTo>
                <a:lnTo>
                  <a:pt x="317238" y="773722"/>
                </a:lnTo>
                <a:lnTo>
                  <a:pt x="319131" y="428020"/>
                </a:lnTo>
                <a:cubicBezTo>
                  <a:pt x="319131" y="366034"/>
                  <a:pt x="369381" y="315784"/>
                  <a:pt x="431367" y="315784"/>
                </a:cubicBezTo>
                <a:lnTo>
                  <a:pt x="849129" y="315784"/>
                </a:lnTo>
                <a:lnTo>
                  <a:pt x="849129" y="439"/>
                </a:lnTo>
                <a:close/>
                <a:moveTo>
                  <a:pt x="2668406" y="0"/>
                </a:moveTo>
                <a:lnTo>
                  <a:pt x="849130" y="0"/>
                </a:lnTo>
                <a:lnTo>
                  <a:pt x="849130" y="316706"/>
                </a:lnTo>
                <a:lnTo>
                  <a:pt x="2668406" y="316706"/>
                </a:lnTo>
                <a:lnTo>
                  <a:pt x="2668406" y="0"/>
                </a:lnTo>
                <a:close/>
              </a:path>
            </a:pathLst>
          </a:cu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9" name="Rectangle: Rounded Corners 105">
            <a:extLst>
              <a:ext uri="{FF2B5EF4-FFF2-40B4-BE49-F238E27FC236}">
                <a16:creationId xmlns:a16="http://schemas.microsoft.com/office/drawing/2014/main" id="{E7856578-963E-4543-BFBD-7B9E17ECE6BB}"/>
              </a:ext>
            </a:extLst>
          </p:cNvPr>
          <p:cNvSpPr>
            <a:spLocks/>
          </p:cNvSpPr>
          <p:nvPr/>
        </p:nvSpPr>
        <p:spPr>
          <a:xfrm>
            <a:off x="417513" y="1536838"/>
            <a:ext cx="4291264" cy="422537"/>
          </a:xfrm>
          <a:prstGeom prst="roundRect">
            <a:avLst/>
          </a:prstGeom>
          <a:solidFill>
            <a:srgbClr val="509AA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CACC163-8ED5-5643-B79A-3ADB40242E16}"/>
              </a:ext>
            </a:extLst>
          </p:cNvPr>
          <p:cNvSpPr txBox="1"/>
          <p:nvPr/>
        </p:nvSpPr>
        <p:spPr>
          <a:xfrm>
            <a:off x="5902370" y="5444255"/>
            <a:ext cx="2732275" cy="527461"/>
          </a:xfrm>
          <a:prstGeom prst="rect">
            <a:avLst/>
          </a:prstGeom>
          <a:noFill/>
          <a:effectLst/>
        </p:spPr>
        <p:txBody>
          <a:bodyPr wrap="square" lIns="45720" tIns="45720" rIns="45720" bIns="45720" rtlCol="0" anchor="ctr" anchorCtr="0">
            <a:noAutofit/>
          </a:bodyPr>
          <a:lstStyle/>
          <a:p>
            <a:r>
              <a:rPr lang="en-US" sz="1100" b="1" dirty="0">
                <a:solidFill>
                  <a:srgbClr val="612C83"/>
                </a:solidFill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me important takeaway he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F4E3EBA-E0CA-4344-867B-765E9118D202}"/>
              </a:ext>
            </a:extLst>
          </p:cNvPr>
          <p:cNvSpPr txBox="1"/>
          <p:nvPr/>
        </p:nvSpPr>
        <p:spPr>
          <a:xfrm>
            <a:off x="5676629" y="2499603"/>
            <a:ext cx="1429084" cy="169277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rgbClr val="509AAF"/>
                </a:solidFill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dolo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2F24BE0-09FC-0C49-A519-4777973DFA1B}"/>
              </a:ext>
            </a:extLst>
          </p:cNvPr>
          <p:cNvSpPr txBox="1"/>
          <p:nvPr/>
        </p:nvSpPr>
        <p:spPr>
          <a:xfrm>
            <a:off x="8462143" y="3573835"/>
            <a:ext cx="898973" cy="169277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rgbClr val="509AAF"/>
                </a:solidFill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65C618C-06CF-7448-80CD-DA9C5BC87C8F}"/>
              </a:ext>
            </a:extLst>
          </p:cNvPr>
          <p:cNvSpPr txBox="1"/>
          <p:nvPr/>
        </p:nvSpPr>
        <p:spPr>
          <a:xfrm>
            <a:off x="7637025" y="4362881"/>
            <a:ext cx="1029595" cy="169277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rgbClr val="509AAF"/>
                </a:solidFill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A08EAD8-0EFA-5343-BE5C-FFD361318962}"/>
              </a:ext>
            </a:extLst>
          </p:cNvPr>
          <p:cNvSpPr/>
          <p:nvPr/>
        </p:nvSpPr>
        <p:spPr bwMode="auto">
          <a:xfrm>
            <a:off x="4734367" y="1555795"/>
            <a:ext cx="430826" cy="430826"/>
          </a:xfrm>
          <a:prstGeom prst="ellipse">
            <a:avLst/>
          </a:prstGeom>
          <a:solidFill>
            <a:srgbClr val="612C83"/>
          </a:solidFill>
          <a:ln w="12700">
            <a:noFill/>
            <a:round/>
            <a:headEnd/>
            <a:tailEnd/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0169D6F-2F2F-0546-8789-A81955BA7D0C}"/>
              </a:ext>
            </a:extLst>
          </p:cNvPr>
          <p:cNvSpPr txBox="1"/>
          <p:nvPr/>
        </p:nvSpPr>
        <p:spPr>
          <a:xfrm>
            <a:off x="4708778" y="1652106"/>
            <a:ext cx="482005" cy="238205"/>
          </a:xfrm>
          <a:prstGeom prst="rect">
            <a:avLst/>
          </a:prstGeom>
          <a:noFill/>
          <a:effectLst/>
        </p:spPr>
        <p:txBody>
          <a:bodyPr wrap="square" rtlCol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s.</a:t>
            </a:r>
            <a:endParaRPr lang="en-GB" sz="1100" b="1" dirty="0">
              <a:solidFill>
                <a:schemeClr val="bg1"/>
              </a:solidFill>
              <a:latin typeface="IBM Plex Sans Medium" panose="020B060305020300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" name="Rectangle: Rounded Corners 250">
            <a:extLst>
              <a:ext uri="{FF2B5EF4-FFF2-40B4-BE49-F238E27FC236}">
                <a16:creationId xmlns:a16="http://schemas.microsoft.com/office/drawing/2014/main" id="{F9928CCB-3EA8-3641-BC55-326A6A888C6D}"/>
              </a:ext>
            </a:extLst>
          </p:cNvPr>
          <p:cNvSpPr>
            <a:spLocks/>
          </p:cNvSpPr>
          <p:nvPr/>
        </p:nvSpPr>
        <p:spPr>
          <a:xfrm>
            <a:off x="5205348" y="1536838"/>
            <a:ext cx="4284727" cy="422537"/>
          </a:xfrm>
          <a:prstGeom prst="roundRect">
            <a:avLst/>
          </a:prstGeom>
          <a:solidFill>
            <a:srgbClr val="509AA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latin typeface="IBM Plex Sans Medium" panose="020B060305020300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C27FD30C-9227-AB49-BFB3-33DA7A7080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23975" y="3457575"/>
            <a:ext cx="762000" cy="76200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B4130E52-F95C-D348-994F-58B150C8D2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4350" y="4676775"/>
            <a:ext cx="762000" cy="7620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4F72B1EE-A588-4448-9F1B-37F9399B4A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52675" y="5514975"/>
            <a:ext cx="762000" cy="7620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3DFCD432-33C0-604F-BB1D-B6BFEB3071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82145" y="1975681"/>
            <a:ext cx="762000" cy="7620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B9366D01-A5D2-F34D-B379-95DD3120D99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62995" y="1975681"/>
            <a:ext cx="762000" cy="7620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790500A7-CEFD-4346-865D-E99F8ACD238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01295" y="1975681"/>
            <a:ext cx="762000" cy="7620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5D0FD7F6-0959-F545-AB05-E9BAE567F33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142662" y="2351364"/>
            <a:ext cx="762000" cy="7620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648ED678-93B0-8140-A109-C084E44970C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553450" y="2800350"/>
            <a:ext cx="762000" cy="7620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6EAB605E-577C-CE4D-8295-EDF08F426E4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734425" y="4229100"/>
            <a:ext cx="762000" cy="7620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98C0C75E-AE6E-8A48-9A64-58A185824C8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887507" y="4813300"/>
            <a:ext cx="7620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2943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C02B6A1-972F-E64C-B381-392A675300B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594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8006EEE-2438-DF46-B3BE-B567CA2C739E}"/>
              </a:ext>
            </a:extLst>
          </p:cNvPr>
          <p:cNvSpPr/>
          <p:nvPr/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chemeClr val="bg1">
              <a:alpha val="92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sz="11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inspiration 3/4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36DA42-848D-5445-BCED-FCA2A26BF1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pc="100" dirty="0">
                <a:latin typeface="Poppins Medium" panose="00000600000000000000" pitchFamily="2" charset="0"/>
                <a:cs typeface="Poppins Medium" panose="00000600000000000000" pitchFamily="2" charset="0"/>
              </a:rPr>
              <a:t>Source: Statista</a:t>
            </a:r>
          </a:p>
        </p:txBody>
      </p:sp>
      <p:graphicFrame>
        <p:nvGraphicFramePr>
          <p:cNvPr id="6" name="ChartObject">
            <a:extLst>
              <a:ext uri="{FF2B5EF4-FFF2-40B4-BE49-F238E27FC236}">
                <a16:creationId xmlns:a16="http://schemas.microsoft.com/office/drawing/2014/main" id="{7DE58061-6D55-A845-B876-C2FBCA5E1E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9012266"/>
              </p:ext>
            </p:extLst>
          </p:nvPr>
        </p:nvGraphicFramePr>
        <p:xfrm>
          <a:off x="417513" y="1582070"/>
          <a:ext cx="8590991" cy="4659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Picture 2" descr="Image result for nfl logo">
            <a:extLst>
              <a:ext uri="{FF2B5EF4-FFF2-40B4-BE49-F238E27FC236}">
                <a16:creationId xmlns:a16="http://schemas.microsoft.com/office/drawing/2014/main" id="{2F2590A9-299F-9540-AEBE-81A83446E3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3053" y="2064200"/>
            <a:ext cx="514257" cy="677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Image result for nba logo">
            <a:extLst>
              <a:ext uri="{FF2B5EF4-FFF2-40B4-BE49-F238E27FC236}">
                <a16:creationId xmlns:a16="http://schemas.microsoft.com/office/drawing/2014/main" id="{A3C8FA51-112D-FB45-86A5-F7F68F2268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6374" y="3820772"/>
            <a:ext cx="347614" cy="78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Image result for nhl logo">
            <a:extLst>
              <a:ext uri="{FF2B5EF4-FFF2-40B4-BE49-F238E27FC236}">
                <a16:creationId xmlns:a16="http://schemas.microsoft.com/office/drawing/2014/main" id="{98ACEB83-1ABC-134A-9405-E7576D66E5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1719" y="5024764"/>
            <a:ext cx="796925" cy="448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7" descr="Image result for mlb logo transparent">
            <a:extLst>
              <a:ext uri="{FF2B5EF4-FFF2-40B4-BE49-F238E27FC236}">
                <a16:creationId xmlns:a16="http://schemas.microsoft.com/office/drawing/2014/main" id="{37D8EB5E-735F-DB4E-B16E-4AF735BDB7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39"/>
          <a:stretch/>
        </p:blipFill>
        <p:spPr bwMode="auto">
          <a:xfrm>
            <a:off x="8725420" y="3305854"/>
            <a:ext cx="689523" cy="424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7DBC4A5-8A89-8941-B1F6-1737D8232670}"/>
              </a:ext>
            </a:extLst>
          </p:cNvPr>
          <p:cNvSpPr txBox="1"/>
          <p:nvPr/>
        </p:nvSpPr>
        <p:spPr>
          <a:xfrm>
            <a:off x="417513" y="134956"/>
            <a:ext cx="2039937" cy="374571"/>
          </a:xfrm>
          <a:prstGeom prst="roundRect">
            <a:avLst/>
          </a:prstGeom>
          <a:noFill/>
          <a:ln w="12700">
            <a:solidFill>
              <a:srgbClr val="612C83"/>
            </a:solidFill>
          </a:ln>
        </p:spPr>
        <p:txBody>
          <a:bodyPr wrap="square" lIns="182880" rtlCol="0">
            <a:spAutoFit/>
          </a:bodyPr>
          <a:lstStyle/>
          <a:p>
            <a:pPr algn="l"/>
            <a:r>
              <a:rPr lang="en-US" sz="1600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Executive Advisors</a:t>
            </a:r>
          </a:p>
        </p:txBody>
      </p:sp>
    </p:spTree>
    <p:extLst>
      <p:ext uri="{BB962C8B-B14F-4D97-AF65-F5344CB8AC3E}">
        <p14:creationId xmlns:p14="http://schemas.microsoft.com/office/powerpoint/2010/main" val="197586992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C7605-1CEA-8D45-8E16-AADD5E4FC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inspiration 4/4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9001C0-493A-1B43-9355-25C3A61A6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36DA42-848D-5445-BCED-FCA2A26BF1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pc="1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37" name="Rectangle: Rounded Corners 311">
            <a:extLst>
              <a:ext uri="{FF2B5EF4-FFF2-40B4-BE49-F238E27FC236}">
                <a16:creationId xmlns:a16="http://schemas.microsoft.com/office/drawing/2014/main" id="{8D807034-A4EC-D940-B474-2700731F91F6}"/>
              </a:ext>
            </a:extLst>
          </p:cNvPr>
          <p:cNvSpPr/>
          <p:nvPr/>
        </p:nvSpPr>
        <p:spPr bwMode="auto">
          <a:xfrm>
            <a:off x="5649162" y="4657900"/>
            <a:ext cx="3834052" cy="903311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64008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400" dirty="0" err="1">
                <a:solidFill>
                  <a:srgbClr val="509AAF"/>
                </a:solidFill>
                <a:latin typeface="IBM Plex Sans Medium" panose="020B0603050203000203" pitchFamily="34" charset="0"/>
              </a:rPr>
              <a:t>Lorem</a:t>
            </a:r>
            <a:r>
              <a:rPr lang="da-DK" sz="14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 </a:t>
            </a:r>
            <a:r>
              <a:rPr lang="da-DK" sz="1400" dirty="0" err="1">
                <a:solidFill>
                  <a:srgbClr val="509AAF"/>
                </a:solidFill>
                <a:latin typeface="IBM Plex Sans Medium" panose="020B0603050203000203" pitchFamily="34" charset="0"/>
              </a:rPr>
              <a:t>ipsum</a:t>
            </a:r>
            <a:endParaRPr lang="de-DE" sz="1400" dirty="0">
              <a:solidFill>
                <a:srgbClr val="509AAF"/>
              </a:solidFill>
              <a:latin typeface="IBM Plex Sans Medium" panose="020B0603050203000203" pitchFamily="34" charset="0"/>
            </a:endParaRPr>
          </a:p>
        </p:txBody>
      </p:sp>
      <p:sp>
        <p:nvSpPr>
          <p:cNvPr id="38" name="Rectangle: Rounded Corners 310">
            <a:extLst>
              <a:ext uri="{FF2B5EF4-FFF2-40B4-BE49-F238E27FC236}">
                <a16:creationId xmlns:a16="http://schemas.microsoft.com/office/drawing/2014/main" id="{746CFA02-3F13-1640-AF12-5B478657A7A3}"/>
              </a:ext>
            </a:extLst>
          </p:cNvPr>
          <p:cNvSpPr/>
          <p:nvPr/>
        </p:nvSpPr>
        <p:spPr bwMode="auto">
          <a:xfrm>
            <a:off x="5649162" y="3420735"/>
            <a:ext cx="3834052" cy="903311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64008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400" dirty="0" err="1">
                <a:solidFill>
                  <a:srgbClr val="509AAF"/>
                </a:solidFill>
                <a:latin typeface="IBM Plex Sans Medium" panose="020B0603050203000203" pitchFamily="34" charset="0"/>
              </a:rPr>
              <a:t>Lorem</a:t>
            </a:r>
            <a:r>
              <a:rPr lang="da-DK" sz="14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 </a:t>
            </a:r>
            <a:r>
              <a:rPr lang="da-DK" sz="1400" dirty="0" err="1">
                <a:solidFill>
                  <a:srgbClr val="509AAF"/>
                </a:solidFill>
                <a:latin typeface="IBM Plex Sans Medium" panose="020B0603050203000203" pitchFamily="34" charset="0"/>
              </a:rPr>
              <a:t>ipsum</a:t>
            </a:r>
            <a:endParaRPr lang="de-DE" sz="1400" dirty="0">
              <a:solidFill>
                <a:srgbClr val="509AAF"/>
              </a:solidFill>
              <a:latin typeface="IBM Plex Sans Medium" panose="020B0603050203000203" pitchFamily="34" charset="0"/>
            </a:endParaRPr>
          </a:p>
        </p:txBody>
      </p:sp>
      <p:sp>
        <p:nvSpPr>
          <p:cNvPr id="39" name="Rectangle: Rounded Corners 303">
            <a:extLst>
              <a:ext uri="{FF2B5EF4-FFF2-40B4-BE49-F238E27FC236}">
                <a16:creationId xmlns:a16="http://schemas.microsoft.com/office/drawing/2014/main" id="{A682DA0B-1C06-044E-9253-79BD7421FC4D}"/>
              </a:ext>
            </a:extLst>
          </p:cNvPr>
          <p:cNvSpPr/>
          <p:nvPr/>
        </p:nvSpPr>
        <p:spPr bwMode="auto">
          <a:xfrm>
            <a:off x="5649162" y="2183570"/>
            <a:ext cx="3834052" cy="903311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64008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400" dirty="0" err="1">
                <a:solidFill>
                  <a:srgbClr val="509AAF"/>
                </a:solidFill>
                <a:latin typeface="IBM Plex Sans Medium" panose="020B0603050203000203" pitchFamily="34" charset="0"/>
              </a:rPr>
              <a:t>Lorem</a:t>
            </a:r>
            <a:r>
              <a:rPr lang="da-DK" sz="1400" dirty="0">
                <a:solidFill>
                  <a:srgbClr val="509AAF"/>
                </a:solidFill>
                <a:latin typeface="IBM Plex Sans Medium" panose="020B0603050203000203" pitchFamily="34" charset="0"/>
              </a:rPr>
              <a:t> </a:t>
            </a:r>
            <a:r>
              <a:rPr lang="da-DK" sz="1400" dirty="0" err="1">
                <a:solidFill>
                  <a:srgbClr val="509AAF"/>
                </a:solidFill>
                <a:latin typeface="IBM Plex Sans Medium" panose="020B0603050203000203" pitchFamily="34" charset="0"/>
              </a:rPr>
              <a:t>ipsum</a:t>
            </a:r>
            <a:endParaRPr lang="de-DE" sz="1400" dirty="0">
              <a:solidFill>
                <a:srgbClr val="509AAF"/>
              </a:solidFill>
              <a:latin typeface="IBM Plex Sans Medium" panose="020B0603050203000203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407975B-E82D-2B40-882E-E24441007B7A}"/>
              </a:ext>
            </a:extLst>
          </p:cNvPr>
          <p:cNvSpPr/>
          <p:nvPr/>
        </p:nvSpPr>
        <p:spPr>
          <a:xfrm>
            <a:off x="5202753" y="2183570"/>
            <a:ext cx="906658" cy="903311"/>
          </a:xfrm>
          <a:prstGeom prst="ellipse">
            <a:avLst/>
          </a:prstGeom>
          <a:solidFill>
            <a:srgbClr val="F5FFC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262626"/>
              </a:solidFill>
              <a:latin typeface="+mj-lt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41F547E5-24B6-FF4E-90CC-DF74F4B3E8C4}"/>
              </a:ext>
            </a:extLst>
          </p:cNvPr>
          <p:cNvSpPr/>
          <p:nvPr/>
        </p:nvSpPr>
        <p:spPr>
          <a:xfrm>
            <a:off x="1052370" y="2659007"/>
            <a:ext cx="2902204" cy="2902204"/>
          </a:xfrm>
          <a:prstGeom prst="ellipse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42" name="Pie 3">
            <a:extLst>
              <a:ext uri="{FF2B5EF4-FFF2-40B4-BE49-F238E27FC236}">
                <a16:creationId xmlns:a16="http://schemas.microsoft.com/office/drawing/2014/main" id="{F663ACCD-A12F-F64C-B6C7-D8505B5D0018}"/>
              </a:ext>
            </a:extLst>
          </p:cNvPr>
          <p:cNvSpPr/>
          <p:nvPr/>
        </p:nvSpPr>
        <p:spPr>
          <a:xfrm>
            <a:off x="780288" y="2386925"/>
            <a:ext cx="3446367" cy="3446367"/>
          </a:xfrm>
          <a:prstGeom prst="pie">
            <a:avLst>
              <a:gd name="adj1" fmla="val 7871380"/>
              <a:gd name="adj2" fmla="val 18986575"/>
            </a:avLst>
          </a:prstGeom>
          <a:solidFill>
            <a:srgbClr val="509AA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262626"/>
              </a:solidFill>
              <a:latin typeface="+mj-lt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34597D45-9E3E-FC44-8D11-D6870FB2BB93}"/>
              </a:ext>
            </a:extLst>
          </p:cNvPr>
          <p:cNvSpPr/>
          <p:nvPr/>
        </p:nvSpPr>
        <p:spPr>
          <a:xfrm>
            <a:off x="1415146" y="3021782"/>
            <a:ext cx="2176653" cy="217665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CD2F513E-2022-B640-BB25-7648CF5647B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77946" y="3184582"/>
            <a:ext cx="1851054" cy="1851054"/>
          </a:xfrm>
          <a:custGeom>
            <a:avLst/>
            <a:gdLst/>
            <a:ahLst/>
            <a:cxnLst>
              <a:cxn ang="0">
                <a:pos x="0" y="192"/>
              </a:cxn>
              <a:cxn ang="0">
                <a:pos x="255" y="135"/>
              </a:cxn>
              <a:cxn ang="0">
                <a:pos x="277" y="122"/>
              </a:cxn>
              <a:cxn ang="0">
                <a:pos x="303" y="116"/>
              </a:cxn>
              <a:cxn ang="0">
                <a:pos x="296" y="105"/>
              </a:cxn>
              <a:cxn ang="0">
                <a:pos x="278" y="89"/>
              </a:cxn>
              <a:cxn ang="0">
                <a:pos x="265" y="90"/>
              </a:cxn>
              <a:cxn ang="0">
                <a:pos x="256" y="82"/>
              </a:cxn>
              <a:cxn ang="0">
                <a:pos x="231" y="73"/>
              </a:cxn>
              <a:cxn ang="0">
                <a:pos x="234" y="98"/>
              </a:cxn>
              <a:cxn ang="0">
                <a:pos x="224" y="118"/>
              </a:cxn>
              <a:cxn ang="0">
                <a:pos x="205" y="103"/>
              </a:cxn>
              <a:cxn ang="0">
                <a:pos x="175" y="89"/>
              </a:cxn>
              <a:cxn ang="0">
                <a:pos x="183" y="68"/>
              </a:cxn>
              <a:cxn ang="0">
                <a:pos x="212" y="58"/>
              </a:cxn>
              <a:cxn ang="0">
                <a:pos x="207" y="47"/>
              </a:cxn>
              <a:cxn ang="0">
                <a:pos x="188" y="50"/>
              </a:cxn>
              <a:cxn ang="0">
                <a:pos x="168" y="37"/>
              </a:cxn>
              <a:cxn ang="0">
                <a:pos x="171" y="52"/>
              </a:cxn>
              <a:cxn ang="0">
                <a:pos x="157" y="52"/>
              </a:cxn>
              <a:cxn ang="0">
                <a:pos x="141" y="40"/>
              </a:cxn>
              <a:cxn ang="0">
                <a:pos x="126" y="47"/>
              </a:cxn>
              <a:cxn ang="0">
                <a:pos x="143" y="51"/>
              </a:cxn>
              <a:cxn ang="0">
                <a:pos x="131" y="58"/>
              </a:cxn>
              <a:cxn ang="0">
                <a:pos x="56" y="107"/>
              </a:cxn>
              <a:cxn ang="0">
                <a:pos x="65" y="118"/>
              </a:cxn>
              <a:cxn ang="0">
                <a:pos x="79" y="135"/>
              </a:cxn>
              <a:cxn ang="0">
                <a:pos x="74" y="158"/>
              </a:cxn>
              <a:cxn ang="0">
                <a:pos x="88" y="185"/>
              </a:cxn>
              <a:cxn ang="0">
                <a:pos x="108" y="214"/>
              </a:cxn>
              <a:cxn ang="0">
                <a:pos x="118" y="227"/>
              </a:cxn>
              <a:cxn ang="0">
                <a:pos x="105" y="197"/>
              </a:cxn>
              <a:cxn ang="0">
                <a:pos x="125" y="225"/>
              </a:cxn>
              <a:cxn ang="0">
                <a:pos x="150" y="255"/>
              </a:cxn>
              <a:cxn ang="0">
                <a:pos x="184" y="269"/>
              </a:cxn>
              <a:cxn ang="0">
                <a:pos x="213" y="290"/>
              </a:cxn>
              <a:cxn ang="0">
                <a:pos x="224" y="288"/>
              </a:cxn>
              <a:cxn ang="0">
                <a:pos x="212" y="268"/>
              </a:cxn>
              <a:cxn ang="0">
                <a:pos x="197" y="262"/>
              </a:cxn>
              <a:cxn ang="0">
                <a:pos x="194" y="239"/>
              </a:cxn>
              <a:cxn ang="0">
                <a:pos x="171" y="250"/>
              </a:cxn>
              <a:cxn ang="0">
                <a:pos x="168" y="210"/>
              </a:cxn>
              <a:cxn ang="0">
                <a:pos x="184" y="206"/>
              </a:cxn>
              <a:cxn ang="0">
                <a:pos x="196" y="202"/>
              </a:cxn>
              <a:cxn ang="0">
                <a:pos x="214" y="211"/>
              </a:cxn>
              <a:cxn ang="0">
                <a:pos x="221" y="205"/>
              </a:cxn>
              <a:cxn ang="0">
                <a:pos x="234" y="179"/>
              </a:cxn>
              <a:cxn ang="0">
                <a:pos x="233" y="171"/>
              </a:cxn>
              <a:cxn ang="0">
                <a:pos x="252" y="157"/>
              </a:cxn>
              <a:cxn ang="0">
                <a:pos x="266" y="143"/>
              </a:cxn>
              <a:cxn ang="0">
                <a:pos x="273" y="131"/>
              </a:cxn>
              <a:cxn ang="0">
                <a:pos x="255" y="135"/>
              </a:cxn>
              <a:cxn ang="0">
                <a:pos x="295" y="298"/>
              </a:cxn>
              <a:cxn ang="0">
                <a:pos x="272" y="288"/>
              </a:cxn>
              <a:cxn ang="0">
                <a:pos x="251" y="288"/>
              </a:cxn>
              <a:cxn ang="0">
                <a:pos x="236" y="286"/>
              </a:cxn>
              <a:cxn ang="0">
                <a:pos x="230" y="307"/>
              </a:cxn>
              <a:cxn ang="0">
                <a:pos x="223" y="335"/>
              </a:cxn>
              <a:cxn ang="0">
                <a:pos x="308" y="302"/>
              </a:cxn>
            </a:cxnLst>
            <a:rect l="0" t="0" r="r" b="b"/>
            <a:pathLst>
              <a:path w="384" h="384">
                <a:moveTo>
                  <a:pt x="384" y="192"/>
                </a:moveTo>
                <a:cubicBezTo>
                  <a:pt x="384" y="298"/>
                  <a:pt x="298" y="384"/>
                  <a:pt x="192" y="384"/>
                </a:cubicBezTo>
                <a:cubicBezTo>
                  <a:pt x="86" y="384"/>
                  <a:pt x="0" y="298"/>
                  <a:pt x="0" y="192"/>
                </a:cubicBezTo>
                <a:cubicBezTo>
                  <a:pt x="0" y="86"/>
                  <a:pt x="86" y="0"/>
                  <a:pt x="192" y="0"/>
                </a:cubicBezTo>
                <a:cubicBezTo>
                  <a:pt x="298" y="0"/>
                  <a:pt x="384" y="86"/>
                  <a:pt x="384" y="192"/>
                </a:cubicBezTo>
                <a:close/>
                <a:moveTo>
                  <a:pt x="255" y="135"/>
                </a:moveTo>
                <a:cubicBezTo>
                  <a:pt x="256" y="135"/>
                  <a:pt x="257" y="130"/>
                  <a:pt x="258" y="129"/>
                </a:cubicBezTo>
                <a:cubicBezTo>
                  <a:pt x="260" y="127"/>
                  <a:pt x="262" y="126"/>
                  <a:pt x="264" y="125"/>
                </a:cubicBezTo>
                <a:cubicBezTo>
                  <a:pt x="268" y="124"/>
                  <a:pt x="272" y="123"/>
                  <a:pt x="277" y="122"/>
                </a:cubicBezTo>
                <a:cubicBezTo>
                  <a:pt x="281" y="121"/>
                  <a:pt x="286" y="121"/>
                  <a:pt x="289" y="125"/>
                </a:cubicBezTo>
                <a:cubicBezTo>
                  <a:pt x="289" y="124"/>
                  <a:pt x="295" y="119"/>
                  <a:pt x="295" y="119"/>
                </a:cubicBezTo>
                <a:cubicBezTo>
                  <a:pt x="298" y="118"/>
                  <a:pt x="301" y="118"/>
                  <a:pt x="303" y="116"/>
                </a:cubicBezTo>
                <a:cubicBezTo>
                  <a:pt x="303" y="115"/>
                  <a:pt x="303" y="110"/>
                  <a:pt x="303" y="110"/>
                </a:cubicBezTo>
                <a:cubicBezTo>
                  <a:pt x="299" y="111"/>
                  <a:pt x="298" y="107"/>
                  <a:pt x="297" y="103"/>
                </a:cubicBezTo>
                <a:cubicBezTo>
                  <a:pt x="297" y="104"/>
                  <a:pt x="297" y="104"/>
                  <a:pt x="296" y="105"/>
                </a:cubicBezTo>
                <a:cubicBezTo>
                  <a:pt x="296" y="102"/>
                  <a:pt x="291" y="104"/>
                  <a:pt x="290" y="104"/>
                </a:cubicBezTo>
                <a:cubicBezTo>
                  <a:pt x="284" y="102"/>
                  <a:pt x="285" y="98"/>
                  <a:pt x="283" y="94"/>
                </a:cubicBezTo>
                <a:cubicBezTo>
                  <a:pt x="282" y="92"/>
                  <a:pt x="279" y="91"/>
                  <a:pt x="278" y="89"/>
                </a:cubicBezTo>
                <a:cubicBezTo>
                  <a:pt x="277" y="87"/>
                  <a:pt x="277" y="84"/>
                  <a:pt x="274" y="84"/>
                </a:cubicBezTo>
                <a:cubicBezTo>
                  <a:pt x="273" y="84"/>
                  <a:pt x="270" y="89"/>
                  <a:pt x="270" y="89"/>
                </a:cubicBezTo>
                <a:cubicBezTo>
                  <a:pt x="267" y="88"/>
                  <a:pt x="266" y="89"/>
                  <a:pt x="265" y="90"/>
                </a:cubicBezTo>
                <a:cubicBezTo>
                  <a:pt x="263" y="91"/>
                  <a:pt x="262" y="91"/>
                  <a:pt x="260" y="92"/>
                </a:cubicBezTo>
                <a:cubicBezTo>
                  <a:pt x="265" y="90"/>
                  <a:pt x="258" y="88"/>
                  <a:pt x="256" y="88"/>
                </a:cubicBezTo>
                <a:cubicBezTo>
                  <a:pt x="260" y="87"/>
                  <a:pt x="258" y="83"/>
                  <a:pt x="256" y="82"/>
                </a:cubicBezTo>
                <a:cubicBezTo>
                  <a:pt x="256" y="82"/>
                  <a:pt x="257" y="82"/>
                  <a:pt x="257" y="82"/>
                </a:cubicBezTo>
                <a:cubicBezTo>
                  <a:pt x="257" y="79"/>
                  <a:pt x="250" y="77"/>
                  <a:pt x="247" y="76"/>
                </a:cubicBezTo>
                <a:cubicBezTo>
                  <a:pt x="245" y="74"/>
                  <a:pt x="233" y="72"/>
                  <a:pt x="231" y="73"/>
                </a:cubicBezTo>
                <a:cubicBezTo>
                  <a:pt x="228" y="75"/>
                  <a:pt x="231" y="80"/>
                  <a:pt x="231" y="83"/>
                </a:cubicBezTo>
                <a:cubicBezTo>
                  <a:pt x="232" y="86"/>
                  <a:pt x="228" y="86"/>
                  <a:pt x="228" y="89"/>
                </a:cubicBezTo>
                <a:cubicBezTo>
                  <a:pt x="228" y="93"/>
                  <a:pt x="236" y="92"/>
                  <a:pt x="234" y="98"/>
                </a:cubicBezTo>
                <a:cubicBezTo>
                  <a:pt x="233" y="102"/>
                  <a:pt x="228" y="102"/>
                  <a:pt x="226" y="105"/>
                </a:cubicBezTo>
                <a:cubicBezTo>
                  <a:pt x="224" y="108"/>
                  <a:pt x="227" y="112"/>
                  <a:pt x="229" y="114"/>
                </a:cubicBezTo>
                <a:cubicBezTo>
                  <a:pt x="231" y="115"/>
                  <a:pt x="225" y="118"/>
                  <a:pt x="224" y="118"/>
                </a:cubicBezTo>
                <a:cubicBezTo>
                  <a:pt x="220" y="120"/>
                  <a:pt x="217" y="114"/>
                  <a:pt x="216" y="110"/>
                </a:cubicBezTo>
                <a:cubicBezTo>
                  <a:pt x="215" y="108"/>
                  <a:pt x="215" y="104"/>
                  <a:pt x="212" y="103"/>
                </a:cubicBezTo>
                <a:cubicBezTo>
                  <a:pt x="210" y="102"/>
                  <a:pt x="206" y="102"/>
                  <a:pt x="205" y="103"/>
                </a:cubicBezTo>
                <a:cubicBezTo>
                  <a:pt x="203" y="99"/>
                  <a:pt x="198" y="98"/>
                  <a:pt x="194" y="97"/>
                </a:cubicBezTo>
                <a:cubicBezTo>
                  <a:pt x="189" y="95"/>
                  <a:pt x="185" y="95"/>
                  <a:pt x="180" y="96"/>
                </a:cubicBezTo>
                <a:cubicBezTo>
                  <a:pt x="181" y="95"/>
                  <a:pt x="179" y="88"/>
                  <a:pt x="175" y="89"/>
                </a:cubicBezTo>
                <a:cubicBezTo>
                  <a:pt x="176" y="86"/>
                  <a:pt x="176" y="84"/>
                  <a:pt x="176" y="81"/>
                </a:cubicBezTo>
                <a:cubicBezTo>
                  <a:pt x="177" y="79"/>
                  <a:pt x="178" y="77"/>
                  <a:pt x="179" y="75"/>
                </a:cubicBezTo>
                <a:cubicBezTo>
                  <a:pt x="180" y="74"/>
                  <a:pt x="185" y="69"/>
                  <a:pt x="183" y="68"/>
                </a:cubicBezTo>
                <a:cubicBezTo>
                  <a:pt x="188" y="69"/>
                  <a:pt x="193" y="69"/>
                  <a:pt x="196" y="66"/>
                </a:cubicBezTo>
                <a:cubicBezTo>
                  <a:pt x="198" y="63"/>
                  <a:pt x="199" y="60"/>
                  <a:pt x="202" y="57"/>
                </a:cubicBezTo>
                <a:cubicBezTo>
                  <a:pt x="205" y="53"/>
                  <a:pt x="209" y="58"/>
                  <a:pt x="212" y="58"/>
                </a:cubicBezTo>
                <a:cubicBezTo>
                  <a:pt x="217" y="59"/>
                  <a:pt x="217" y="53"/>
                  <a:pt x="214" y="51"/>
                </a:cubicBezTo>
                <a:cubicBezTo>
                  <a:pt x="218" y="51"/>
                  <a:pt x="215" y="45"/>
                  <a:pt x="213" y="44"/>
                </a:cubicBezTo>
                <a:cubicBezTo>
                  <a:pt x="211" y="43"/>
                  <a:pt x="202" y="46"/>
                  <a:pt x="207" y="47"/>
                </a:cubicBezTo>
                <a:cubicBezTo>
                  <a:pt x="206" y="47"/>
                  <a:pt x="200" y="59"/>
                  <a:pt x="196" y="53"/>
                </a:cubicBezTo>
                <a:cubicBezTo>
                  <a:pt x="195" y="52"/>
                  <a:pt x="195" y="47"/>
                  <a:pt x="193" y="46"/>
                </a:cubicBezTo>
                <a:cubicBezTo>
                  <a:pt x="190" y="46"/>
                  <a:pt x="189" y="49"/>
                  <a:pt x="188" y="50"/>
                </a:cubicBezTo>
                <a:cubicBezTo>
                  <a:pt x="190" y="47"/>
                  <a:pt x="181" y="45"/>
                  <a:pt x="180" y="44"/>
                </a:cubicBezTo>
                <a:cubicBezTo>
                  <a:pt x="183" y="42"/>
                  <a:pt x="180" y="39"/>
                  <a:pt x="178" y="38"/>
                </a:cubicBezTo>
                <a:cubicBezTo>
                  <a:pt x="176" y="36"/>
                  <a:pt x="169" y="35"/>
                  <a:pt x="168" y="37"/>
                </a:cubicBezTo>
                <a:cubicBezTo>
                  <a:pt x="163" y="43"/>
                  <a:pt x="173" y="44"/>
                  <a:pt x="175" y="45"/>
                </a:cubicBezTo>
                <a:cubicBezTo>
                  <a:pt x="176" y="46"/>
                  <a:pt x="179" y="48"/>
                  <a:pt x="177" y="49"/>
                </a:cubicBezTo>
                <a:cubicBezTo>
                  <a:pt x="176" y="50"/>
                  <a:pt x="171" y="51"/>
                  <a:pt x="171" y="52"/>
                </a:cubicBezTo>
                <a:cubicBezTo>
                  <a:pt x="169" y="54"/>
                  <a:pt x="172" y="57"/>
                  <a:pt x="170" y="59"/>
                </a:cubicBezTo>
                <a:cubicBezTo>
                  <a:pt x="168" y="57"/>
                  <a:pt x="168" y="53"/>
                  <a:pt x="166" y="50"/>
                </a:cubicBezTo>
                <a:cubicBezTo>
                  <a:pt x="168" y="53"/>
                  <a:pt x="157" y="52"/>
                  <a:pt x="157" y="52"/>
                </a:cubicBezTo>
                <a:cubicBezTo>
                  <a:pt x="154" y="52"/>
                  <a:pt x="148" y="54"/>
                  <a:pt x="145" y="50"/>
                </a:cubicBezTo>
                <a:cubicBezTo>
                  <a:pt x="144" y="49"/>
                  <a:pt x="144" y="44"/>
                  <a:pt x="146" y="45"/>
                </a:cubicBezTo>
                <a:cubicBezTo>
                  <a:pt x="144" y="43"/>
                  <a:pt x="142" y="41"/>
                  <a:pt x="141" y="40"/>
                </a:cubicBezTo>
                <a:cubicBezTo>
                  <a:pt x="132" y="43"/>
                  <a:pt x="125" y="47"/>
                  <a:pt x="117" y="51"/>
                </a:cubicBezTo>
                <a:cubicBezTo>
                  <a:pt x="118" y="51"/>
                  <a:pt x="119" y="51"/>
                  <a:pt x="120" y="50"/>
                </a:cubicBezTo>
                <a:cubicBezTo>
                  <a:pt x="122" y="50"/>
                  <a:pt x="124" y="48"/>
                  <a:pt x="126" y="47"/>
                </a:cubicBezTo>
                <a:cubicBezTo>
                  <a:pt x="128" y="46"/>
                  <a:pt x="134" y="43"/>
                  <a:pt x="136" y="46"/>
                </a:cubicBezTo>
                <a:cubicBezTo>
                  <a:pt x="137" y="45"/>
                  <a:pt x="137" y="45"/>
                  <a:pt x="138" y="44"/>
                </a:cubicBezTo>
                <a:cubicBezTo>
                  <a:pt x="139" y="46"/>
                  <a:pt x="141" y="48"/>
                  <a:pt x="143" y="51"/>
                </a:cubicBezTo>
                <a:cubicBezTo>
                  <a:pt x="141" y="50"/>
                  <a:pt x="137" y="50"/>
                  <a:pt x="135" y="50"/>
                </a:cubicBezTo>
                <a:cubicBezTo>
                  <a:pt x="133" y="51"/>
                  <a:pt x="130" y="51"/>
                  <a:pt x="130" y="53"/>
                </a:cubicBezTo>
                <a:cubicBezTo>
                  <a:pt x="130" y="55"/>
                  <a:pt x="131" y="57"/>
                  <a:pt x="131" y="58"/>
                </a:cubicBezTo>
                <a:cubicBezTo>
                  <a:pt x="128" y="56"/>
                  <a:pt x="125" y="52"/>
                  <a:pt x="121" y="51"/>
                </a:cubicBezTo>
                <a:cubicBezTo>
                  <a:pt x="119" y="51"/>
                  <a:pt x="117" y="51"/>
                  <a:pt x="115" y="52"/>
                </a:cubicBezTo>
                <a:cubicBezTo>
                  <a:pt x="91" y="65"/>
                  <a:pt x="71" y="84"/>
                  <a:pt x="56" y="107"/>
                </a:cubicBezTo>
                <a:cubicBezTo>
                  <a:pt x="57" y="108"/>
                  <a:pt x="58" y="109"/>
                  <a:pt x="59" y="109"/>
                </a:cubicBezTo>
                <a:cubicBezTo>
                  <a:pt x="62" y="110"/>
                  <a:pt x="59" y="117"/>
                  <a:pt x="64" y="113"/>
                </a:cubicBezTo>
                <a:cubicBezTo>
                  <a:pt x="66" y="115"/>
                  <a:pt x="66" y="116"/>
                  <a:pt x="65" y="118"/>
                </a:cubicBezTo>
                <a:cubicBezTo>
                  <a:pt x="65" y="118"/>
                  <a:pt x="75" y="124"/>
                  <a:pt x="76" y="125"/>
                </a:cubicBezTo>
                <a:cubicBezTo>
                  <a:pt x="78" y="126"/>
                  <a:pt x="80" y="128"/>
                  <a:pt x="81" y="130"/>
                </a:cubicBezTo>
                <a:cubicBezTo>
                  <a:pt x="82" y="132"/>
                  <a:pt x="80" y="134"/>
                  <a:pt x="79" y="135"/>
                </a:cubicBezTo>
                <a:cubicBezTo>
                  <a:pt x="78" y="134"/>
                  <a:pt x="75" y="130"/>
                  <a:pt x="74" y="131"/>
                </a:cubicBezTo>
                <a:cubicBezTo>
                  <a:pt x="73" y="133"/>
                  <a:pt x="74" y="139"/>
                  <a:pt x="77" y="139"/>
                </a:cubicBezTo>
                <a:cubicBezTo>
                  <a:pt x="73" y="139"/>
                  <a:pt x="75" y="155"/>
                  <a:pt x="74" y="158"/>
                </a:cubicBezTo>
                <a:cubicBezTo>
                  <a:pt x="74" y="158"/>
                  <a:pt x="74" y="158"/>
                  <a:pt x="74" y="158"/>
                </a:cubicBezTo>
                <a:cubicBezTo>
                  <a:pt x="73" y="161"/>
                  <a:pt x="76" y="173"/>
                  <a:pt x="81" y="172"/>
                </a:cubicBezTo>
                <a:cubicBezTo>
                  <a:pt x="78" y="172"/>
                  <a:pt x="87" y="184"/>
                  <a:pt x="88" y="185"/>
                </a:cubicBezTo>
                <a:cubicBezTo>
                  <a:pt x="91" y="187"/>
                  <a:pt x="95" y="188"/>
                  <a:pt x="97" y="192"/>
                </a:cubicBezTo>
                <a:cubicBezTo>
                  <a:pt x="100" y="195"/>
                  <a:pt x="100" y="201"/>
                  <a:pt x="103" y="203"/>
                </a:cubicBezTo>
                <a:cubicBezTo>
                  <a:pt x="102" y="206"/>
                  <a:pt x="108" y="210"/>
                  <a:pt x="108" y="214"/>
                </a:cubicBezTo>
                <a:cubicBezTo>
                  <a:pt x="108" y="214"/>
                  <a:pt x="107" y="214"/>
                  <a:pt x="107" y="215"/>
                </a:cubicBezTo>
                <a:cubicBezTo>
                  <a:pt x="108" y="218"/>
                  <a:pt x="113" y="218"/>
                  <a:pt x="115" y="221"/>
                </a:cubicBezTo>
                <a:cubicBezTo>
                  <a:pt x="116" y="223"/>
                  <a:pt x="115" y="228"/>
                  <a:pt x="118" y="227"/>
                </a:cubicBezTo>
                <a:cubicBezTo>
                  <a:pt x="118" y="222"/>
                  <a:pt x="115" y="216"/>
                  <a:pt x="112" y="212"/>
                </a:cubicBezTo>
                <a:cubicBezTo>
                  <a:pt x="110" y="209"/>
                  <a:pt x="109" y="207"/>
                  <a:pt x="108" y="204"/>
                </a:cubicBezTo>
                <a:cubicBezTo>
                  <a:pt x="106" y="202"/>
                  <a:pt x="106" y="199"/>
                  <a:pt x="105" y="197"/>
                </a:cubicBezTo>
                <a:cubicBezTo>
                  <a:pt x="106" y="197"/>
                  <a:pt x="112" y="199"/>
                  <a:pt x="111" y="200"/>
                </a:cubicBezTo>
                <a:cubicBezTo>
                  <a:pt x="109" y="205"/>
                  <a:pt x="119" y="214"/>
                  <a:pt x="122" y="217"/>
                </a:cubicBezTo>
                <a:cubicBezTo>
                  <a:pt x="123" y="218"/>
                  <a:pt x="128" y="225"/>
                  <a:pt x="125" y="225"/>
                </a:cubicBezTo>
                <a:cubicBezTo>
                  <a:pt x="129" y="225"/>
                  <a:pt x="133" y="230"/>
                  <a:pt x="135" y="233"/>
                </a:cubicBezTo>
                <a:cubicBezTo>
                  <a:pt x="137" y="236"/>
                  <a:pt x="136" y="241"/>
                  <a:pt x="138" y="245"/>
                </a:cubicBezTo>
                <a:cubicBezTo>
                  <a:pt x="139" y="250"/>
                  <a:pt x="146" y="252"/>
                  <a:pt x="150" y="255"/>
                </a:cubicBezTo>
                <a:cubicBezTo>
                  <a:pt x="154" y="256"/>
                  <a:pt x="157" y="259"/>
                  <a:pt x="160" y="260"/>
                </a:cubicBezTo>
                <a:cubicBezTo>
                  <a:pt x="166" y="262"/>
                  <a:pt x="167" y="260"/>
                  <a:pt x="171" y="260"/>
                </a:cubicBezTo>
                <a:cubicBezTo>
                  <a:pt x="178" y="259"/>
                  <a:pt x="179" y="266"/>
                  <a:pt x="184" y="269"/>
                </a:cubicBezTo>
                <a:cubicBezTo>
                  <a:pt x="187" y="270"/>
                  <a:pt x="194" y="273"/>
                  <a:pt x="198" y="271"/>
                </a:cubicBezTo>
                <a:cubicBezTo>
                  <a:pt x="196" y="272"/>
                  <a:pt x="203" y="282"/>
                  <a:pt x="204" y="283"/>
                </a:cubicBezTo>
                <a:cubicBezTo>
                  <a:pt x="206" y="286"/>
                  <a:pt x="210" y="287"/>
                  <a:pt x="213" y="290"/>
                </a:cubicBezTo>
                <a:cubicBezTo>
                  <a:pt x="213" y="290"/>
                  <a:pt x="214" y="289"/>
                  <a:pt x="214" y="288"/>
                </a:cubicBezTo>
                <a:cubicBezTo>
                  <a:pt x="213" y="291"/>
                  <a:pt x="218" y="296"/>
                  <a:pt x="221" y="296"/>
                </a:cubicBezTo>
                <a:cubicBezTo>
                  <a:pt x="223" y="295"/>
                  <a:pt x="224" y="290"/>
                  <a:pt x="224" y="288"/>
                </a:cubicBezTo>
                <a:cubicBezTo>
                  <a:pt x="219" y="290"/>
                  <a:pt x="215" y="288"/>
                  <a:pt x="212" y="283"/>
                </a:cubicBezTo>
                <a:cubicBezTo>
                  <a:pt x="211" y="282"/>
                  <a:pt x="207" y="275"/>
                  <a:pt x="211" y="275"/>
                </a:cubicBezTo>
                <a:cubicBezTo>
                  <a:pt x="216" y="275"/>
                  <a:pt x="212" y="271"/>
                  <a:pt x="212" y="268"/>
                </a:cubicBezTo>
                <a:cubicBezTo>
                  <a:pt x="211" y="264"/>
                  <a:pt x="208" y="262"/>
                  <a:pt x="206" y="259"/>
                </a:cubicBezTo>
                <a:cubicBezTo>
                  <a:pt x="205" y="262"/>
                  <a:pt x="200" y="261"/>
                  <a:pt x="198" y="259"/>
                </a:cubicBezTo>
                <a:cubicBezTo>
                  <a:pt x="198" y="259"/>
                  <a:pt x="197" y="261"/>
                  <a:pt x="197" y="262"/>
                </a:cubicBezTo>
                <a:cubicBezTo>
                  <a:pt x="196" y="262"/>
                  <a:pt x="195" y="262"/>
                  <a:pt x="194" y="261"/>
                </a:cubicBezTo>
                <a:cubicBezTo>
                  <a:pt x="194" y="258"/>
                  <a:pt x="194" y="255"/>
                  <a:pt x="195" y="251"/>
                </a:cubicBezTo>
                <a:cubicBezTo>
                  <a:pt x="196" y="247"/>
                  <a:pt x="205" y="238"/>
                  <a:pt x="194" y="239"/>
                </a:cubicBezTo>
                <a:cubicBezTo>
                  <a:pt x="190" y="239"/>
                  <a:pt x="188" y="240"/>
                  <a:pt x="187" y="244"/>
                </a:cubicBezTo>
                <a:cubicBezTo>
                  <a:pt x="186" y="247"/>
                  <a:pt x="186" y="249"/>
                  <a:pt x="183" y="251"/>
                </a:cubicBezTo>
                <a:cubicBezTo>
                  <a:pt x="181" y="252"/>
                  <a:pt x="173" y="251"/>
                  <a:pt x="171" y="250"/>
                </a:cubicBezTo>
                <a:cubicBezTo>
                  <a:pt x="166" y="247"/>
                  <a:pt x="163" y="239"/>
                  <a:pt x="163" y="234"/>
                </a:cubicBezTo>
                <a:cubicBezTo>
                  <a:pt x="163" y="227"/>
                  <a:pt x="166" y="221"/>
                  <a:pt x="163" y="215"/>
                </a:cubicBezTo>
                <a:cubicBezTo>
                  <a:pt x="164" y="213"/>
                  <a:pt x="166" y="211"/>
                  <a:pt x="168" y="210"/>
                </a:cubicBezTo>
                <a:cubicBezTo>
                  <a:pt x="169" y="209"/>
                  <a:pt x="171" y="210"/>
                  <a:pt x="172" y="207"/>
                </a:cubicBezTo>
                <a:cubicBezTo>
                  <a:pt x="171" y="207"/>
                  <a:pt x="170" y="206"/>
                  <a:pt x="170" y="206"/>
                </a:cubicBezTo>
                <a:cubicBezTo>
                  <a:pt x="173" y="208"/>
                  <a:pt x="180" y="203"/>
                  <a:pt x="184" y="206"/>
                </a:cubicBezTo>
                <a:cubicBezTo>
                  <a:pt x="186" y="207"/>
                  <a:pt x="188" y="208"/>
                  <a:pt x="189" y="205"/>
                </a:cubicBezTo>
                <a:cubicBezTo>
                  <a:pt x="189" y="205"/>
                  <a:pt x="187" y="202"/>
                  <a:pt x="188" y="200"/>
                </a:cubicBezTo>
                <a:cubicBezTo>
                  <a:pt x="189" y="204"/>
                  <a:pt x="192" y="205"/>
                  <a:pt x="196" y="202"/>
                </a:cubicBezTo>
                <a:cubicBezTo>
                  <a:pt x="197" y="203"/>
                  <a:pt x="201" y="203"/>
                  <a:pt x="204" y="204"/>
                </a:cubicBezTo>
                <a:cubicBezTo>
                  <a:pt x="207" y="206"/>
                  <a:pt x="207" y="209"/>
                  <a:pt x="211" y="205"/>
                </a:cubicBezTo>
                <a:cubicBezTo>
                  <a:pt x="213" y="208"/>
                  <a:pt x="213" y="208"/>
                  <a:pt x="214" y="211"/>
                </a:cubicBezTo>
                <a:cubicBezTo>
                  <a:pt x="214" y="214"/>
                  <a:pt x="216" y="221"/>
                  <a:pt x="218" y="222"/>
                </a:cubicBezTo>
                <a:cubicBezTo>
                  <a:pt x="224" y="225"/>
                  <a:pt x="222" y="217"/>
                  <a:pt x="222" y="214"/>
                </a:cubicBezTo>
                <a:cubicBezTo>
                  <a:pt x="222" y="213"/>
                  <a:pt x="222" y="205"/>
                  <a:pt x="221" y="205"/>
                </a:cubicBezTo>
                <a:cubicBezTo>
                  <a:pt x="213" y="203"/>
                  <a:pt x="216" y="197"/>
                  <a:pt x="221" y="193"/>
                </a:cubicBezTo>
                <a:cubicBezTo>
                  <a:pt x="222" y="192"/>
                  <a:pt x="227" y="190"/>
                  <a:pt x="230" y="188"/>
                </a:cubicBezTo>
                <a:cubicBezTo>
                  <a:pt x="232" y="186"/>
                  <a:pt x="235" y="183"/>
                  <a:pt x="234" y="179"/>
                </a:cubicBezTo>
                <a:cubicBezTo>
                  <a:pt x="235" y="179"/>
                  <a:pt x="236" y="178"/>
                  <a:pt x="236" y="177"/>
                </a:cubicBezTo>
                <a:cubicBezTo>
                  <a:pt x="236" y="177"/>
                  <a:pt x="233" y="174"/>
                  <a:pt x="232" y="175"/>
                </a:cubicBezTo>
                <a:cubicBezTo>
                  <a:pt x="234" y="174"/>
                  <a:pt x="234" y="172"/>
                  <a:pt x="233" y="171"/>
                </a:cubicBezTo>
                <a:cubicBezTo>
                  <a:pt x="235" y="169"/>
                  <a:pt x="234" y="166"/>
                  <a:pt x="236" y="165"/>
                </a:cubicBezTo>
                <a:cubicBezTo>
                  <a:pt x="239" y="169"/>
                  <a:pt x="245" y="165"/>
                  <a:pt x="242" y="162"/>
                </a:cubicBezTo>
                <a:cubicBezTo>
                  <a:pt x="244" y="158"/>
                  <a:pt x="250" y="160"/>
                  <a:pt x="252" y="157"/>
                </a:cubicBezTo>
                <a:cubicBezTo>
                  <a:pt x="255" y="158"/>
                  <a:pt x="253" y="153"/>
                  <a:pt x="255" y="150"/>
                </a:cubicBezTo>
                <a:cubicBezTo>
                  <a:pt x="256" y="148"/>
                  <a:pt x="259" y="148"/>
                  <a:pt x="262" y="147"/>
                </a:cubicBezTo>
                <a:cubicBezTo>
                  <a:pt x="262" y="147"/>
                  <a:pt x="268" y="143"/>
                  <a:pt x="266" y="143"/>
                </a:cubicBezTo>
                <a:cubicBezTo>
                  <a:pt x="270" y="144"/>
                  <a:pt x="279" y="139"/>
                  <a:pt x="272" y="135"/>
                </a:cubicBezTo>
                <a:cubicBezTo>
                  <a:pt x="273" y="133"/>
                  <a:pt x="270" y="132"/>
                  <a:pt x="268" y="132"/>
                </a:cubicBezTo>
                <a:cubicBezTo>
                  <a:pt x="269" y="131"/>
                  <a:pt x="272" y="132"/>
                  <a:pt x="273" y="131"/>
                </a:cubicBezTo>
                <a:cubicBezTo>
                  <a:pt x="276" y="129"/>
                  <a:pt x="274" y="128"/>
                  <a:pt x="271" y="127"/>
                </a:cubicBezTo>
                <a:cubicBezTo>
                  <a:pt x="268" y="126"/>
                  <a:pt x="263" y="128"/>
                  <a:pt x="261" y="130"/>
                </a:cubicBezTo>
                <a:cubicBezTo>
                  <a:pt x="259" y="132"/>
                  <a:pt x="257" y="134"/>
                  <a:pt x="255" y="135"/>
                </a:cubicBezTo>
                <a:close/>
                <a:moveTo>
                  <a:pt x="308" y="302"/>
                </a:moveTo>
                <a:cubicBezTo>
                  <a:pt x="306" y="301"/>
                  <a:pt x="303" y="301"/>
                  <a:pt x="301" y="300"/>
                </a:cubicBezTo>
                <a:cubicBezTo>
                  <a:pt x="299" y="300"/>
                  <a:pt x="298" y="299"/>
                  <a:pt x="295" y="298"/>
                </a:cubicBezTo>
                <a:cubicBezTo>
                  <a:pt x="296" y="293"/>
                  <a:pt x="290" y="292"/>
                  <a:pt x="287" y="289"/>
                </a:cubicBezTo>
                <a:cubicBezTo>
                  <a:pt x="284" y="287"/>
                  <a:pt x="282" y="284"/>
                  <a:pt x="277" y="285"/>
                </a:cubicBezTo>
                <a:cubicBezTo>
                  <a:pt x="276" y="285"/>
                  <a:pt x="271" y="287"/>
                  <a:pt x="272" y="288"/>
                </a:cubicBezTo>
                <a:cubicBezTo>
                  <a:pt x="269" y="285"/>
                  <a:pt x="268" y="284"/>
                  <a:pt x="263" y="282"/>
                </a:cubicBezTo>
                <a:cubicBezTo>
                  <a:pt x="259" y="281"/>
                  <a:pt x="257" y="276"/>
                  <a:pt x="253" y="281"/>
                </a:cubicBezTo>
                <a:cubicBezTo>
                  <a:pt x="251" y="283"/>
                  <a:pt x="252" y="286"/>
                  <a:pt x="251" y="288"/>
                </a:cubicBezTo>
                <a:cubicBezTo>
                  <a:pt x="247" y="285"/>
                  <a:pt x="254" y="282"/>
                  <a:pt x="251" y="279"/>
                </a:cubicBezTo>
                <a:cubicBezTo>
                  <a:pt x="248" y="275"/>
                  <a:pt x="243" y="281"/>
                  <a:pt x="240" y="282"/>
                </a:cubicBezTo>
                <a:cubicBezTo>
                  <a:pt x="239" y="284"/>
                  <a:pt x="237" y="284"/>
                  <a:pt x="236" y="286"/>
                </a:cubicBezTo>
                <a:cubicBezTo>
                  <a:pt x="235" y="287"/>
                  <a:pt x="234" y="290"/>
                  <a:pt x="233" y="291"/>
                </a:cubicBezTo>
                <a:cubicBezTo>
                  <a:pt x="233" y="289"/>
                  <a:pt x="228" y="290"/>
                  <a:pt x="228" y="288"/>
                </a:cubicBezTo>
                <a:cubicBezTo>
                  <a:pt x="229" y="294"/>
                  <a:pt x="229" y="301"/>
                  <a:pt x="230" y="307"/>
                </a:cubicBezTo>
                <a:cubicBezTo>
                  <a:pt x="231" y="310"/>
                  <a:pt x="230" y="316"/>
                  <a:pt x="227" y="319"/>
                </a:cubicBezTo>
                <a:cubicBezTo>
                  <a:pt x="224" y="321"/>
                  <a:pt x="221" y="324"/>
                  <a:pt x="220" y="329"/>
                </a:cubicBezTo>
                <a:cubicBezTo>
                  <a:pt x="220" y="332"/>
                  <a:pt x="220" y="334"/>
                  <a:pt x="223" y="335"/>
                </a:cubicBezTo>
                <a:cubicBezTo>
                  <a:pt x="223" y="339"/>
                  <a:pt x="219" y="342"/>
                  <a:pt x="219" y="346"/>
                </a:cubicBezTo>
                <a:cubicBezTo>
                  <a:pt x="219" y="346"/>
                  <a:pt x="220" y="348"/>
                  <a:pt x="220" y="350"/>
                </a:cubicBezTo>
                <a:cubicBezTo>
                  <a:pt x="254" y="344"/>
                  <a:pt x="285" y="327"/>
                  <a:pt x="308" y="30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262626"/>
              </a:solidFill>
              <a:latin typeface="+mj-lt"/>
            </a:endParaRPr>
          </a:p>
        </p:txBody>
      </p:sp>
      <p:grpSp>
        <p:nvGrpSpPr>
          <p:cNvPr id="45" name="Group 73">
            <a:extLst>
              <a:ext uri="{FF2B5EF4-FFF2-40B4-BE49-F238E27FC236}">
                <a16:creationId xmlns:a16="http://schemas.microsoft.com/office/drawing/2014/main" id="{1D967630-E120-CA41-8813-359F987B9DAF}"/>
              </a:ext>
            </a:extLst>
          </p:cNvPr>
          <p:cNvGrpSpPr/>
          <p:nvPr/>
        </p:nvGrpSpPr>
        <p:grpSpPr>
          <a:xfrm flipH="1" flipV="1">
            <a:off x="2775555" y="5621673"/>
            <a:ext cx="920337" cy="257799"/>
            <a:chOff x="2901397" y="1460250"/>
            <a:chExt cx="930338" cy="220268"/>
          </a:xfrm>
          <a:effectLst/>
        </p:grpSpPr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5C2F28DE-B51F-7B44-A13A-B22227A05AA3}"/>
                </a:ext>
              </a:extLst>
            </p:cNvPr>
            <p:cNvCxnSpPr/>
            <p:nvPr/>
          </p:nvCxnSpPr>
          <p:spPr>
            <a:xfrm flipH="1" flipV="1">
              <a:off x="3592681" y="1460250"/>
              <a:ext cx="239054" cy="220268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77D5BC8-2DC3-6247-B952-B8FB77244C90}"/>
                </a:ext>
              </a:extLst>
            </p:cNvPr>
            <p:cNvCxnSpPr/>
            <p:nvPr/>
          </p:nvCxnSpPr>
          <p:spPr>
            <a:xfrm flipH="1">
              <a:off x="2901397" y="1463917"/>
              <a:ext cx="691284" cy="0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49996BF4-02B2-BD44-A4E1-EE65394AD0A0}"/>
              </a:ext>
            </a:extLst>
          </p:cNvPr>
          <p:cNvSpPr txBox="1">
            <a:spLocks/>
          </p:cNvSpPr>
          <p:nvPr/>
        </p:nvSpPr>
        <p:spPr>
          <a:xfrm>
            <a:off x="3144409" y="5918522"/>
            <a:ext cx="492122" cy="215444"/>
          </a:xfrm>
          <a:prstGeom prst="rect">
            <a:avLst/>
          </a:prstGeom>
          <a:effectLst/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400" b="0" dirty="0">
                <a:solidFill>
                  <a:srgbClr val="509AAF"/>
                </a:solidFill>
                <a:latin typeface="IBM Plex Sans Medium" panose="020B0603050203000203" pitchFamily="34" charset="0"/>
              </a:rPr>
              <a:t>100%</a:t>
            </a:r>
          </a:p>
        </p:txBody>
      </p:sp>
      <p:grpSp>
        <p:nvGrpSpPr>
          <p:cNvPr id="49" name="Group 73">
            <a:extLst>
              <a:ext uri="{FF2B5EF4-FFF2-40B4-BE49-F238E27FC236}">
                <a16:creationId xmlns:a16="http://schemas.microsoft.com/office/drawing/2014/main" id="{629BFAB7-03FC-0E4C-A2BD-DDB1FE538C67}"/>
              </a:ext>
            </a:extLst>
          </p:cNvPr>
          <p:cNvGrpSpPr/>
          <p:nvPr/>
        </p:nvGrpSpPr>
        <p:grpSpPr>
          <a:xfrm>
            <a:off x="629133" y="1933456"/>
            <a:ext cx="920337" cy="257799"/>
            <a:chOff x="2901397" y="1460250"/>
            <a:chExt cx="930338" cy="220268"/>
          </a:xfrm>
          <a:effectLst/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B9C95A2F-1853-E54D-8CF2-1733CB4B7E78}"/>
                </a:ext>
              </a:extLst>
            </p:cNvPr>
            <p:cNvCxnSpPr/>
            <p:nvPr/>
          </p:nvCxnSpPr>
          <p:spPr>
            <a:xfrm flipH="1" flipV="1">
              <a:off x="3592681" y="1460250"/>
              <a:ext cx="239054" cy="220268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A79D5E74-D659-7742-9ED4-CE0E73FF65F3}"/>
                </a:ext>
              </a:extLst>
            </p:cNvPr>
            <p:cNvCxnSpPr/>
            <p:nvPr/>
          </p:nvCxnSpPr>
          <p:spPr>
            <a:xfrm flipH="1">
              <a:off x="2901397" y="1463917"/>
              <a:ext cx="691284" cy="0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12D512C4-5792-8848-B736-C7B07F94D734}"/>
              </a:ext>
            </a:extLst>
          </p:cNvPr>
          <p:cNvSpPr txBox="1">
            <a:spLocks/>
          </p:cNvSpPr>
          <p:nvPr/>
        </p:nvSpPr>
        <p:spPr>
          <a:xfrm>
            <a:off x="794509" y="1644328"/>
            <a:ext cx="384721" cy="215444"/>
          </a:xfrm>
          <a:prstGeom prst="rect">
            <a:avLst/>
          </a:prstGeom>
          <a:effectLst/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400" b="0" dirty="0">
                <a:solidFill>
                  <a:srgbClr val="509AAF"/>
                </a:solidFill>
                <a:latin typeface="IBM Plex Sans Medium" panose="020B0603050203000203" pitchFamily="34" charset="0"/>
              </a:rPr>
              <a:t>20%</a:t>
            </a:r>
          </a:p>
        </p:txBody>
      </p:sp>
      <p:grpSp>
        <p:nvGrpSpPr>
          <p:cNvPr id="53" name="Group 74">
            <a:extLst>
              <a:ext uri="{FF2B5EF4-FFF2-40B4-BE49-F238E27FC236}">
                <a16:creationId xmlns:a16="http://schemas.microsoft.com/office/drawing/2014/main" id="{70B09488-FE1D-5B49-9A85-673E66D8AD68}"/>
              </a:ext>
            </a:extLst>
          </p:cNvPr>
          <p:cNvGrpSpPr/>
          <p:nvPr/>
        </p:nvGrpSpPr>
        <p:grpSpPr>
          <a:xfrm flipH="1">
            <a:off x="3009912" y="2144082"/>
            <a:ext cx="920337" cy="262165"/>
            <a:chOff x="2901397" y="1460250"/>
            <a:chExt cx="930338" cy="220268"/>
          </a:xfrm>
          <a:effectLst/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5B32B271-FE80-5940-AEBA-81FD3620ED61}"/>
                </a:ext>
              </a:extLst>
            </p:cNvPr>
            <p:cNvCxnSpPr/>
            <p:nvPr/>
          </p:nvCxnSpPr>
          <p:spPr>
            <a:xfrm flipH="1" flipV="1">
              <a:off x="3592681" y="1460250"/>
              <a:ext cx="239054" cy="220268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6FFB3B5-ED35-AB42-B7A0-8EBBF0B555CC}"/>
                </a:ext>
              </a:extLst>
            </p:cNvPr>
            <p:cNvCxnSpPr/>
            <p:nvPr/>
          </p:nvCxnSpPr>
          <p:spPr>
            <a:xfrm flipH="1">
              <a:off x="2901397" y="1463918"/>
              <a:ext cx="691284" cy="0"/>
            </a:xfrm>
            <a:prstGeom prst="line">
              <a:avLst/>
            </a:prstGeom>
            <a:ln w="19050" cap="rnd">
              <a:solidFill>
                <a:srgbClr val="D2D2D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3F9B38DA-BA2F-0047-BECD-DB14E60EBF9E}"/>
              </a:ext>
            </a:extLst>
          </p:cNvPr>
          <p:cNvSpPr txBox="1">
            <a:spLocks/>
          </p:cNvSpPr>
          <p:nvPr/>
        </p:nvSpPr>
        <p:spPr>
          <a:xfrm>
            <a:off x="3410386" y="1857597"/>
            <a:ext cx="384721" cy="215444"/>
          </a:xfrm>
          <a:prstGeom prst="rect">
            <a:avLst/>
          </a:prstGeom>
          <a:effectLst/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400" b="0" dirty="0">
                <a:solidFill>
                  <a:srgbClr val="509AAF"/>
                </a:solidFill>
                <a:latin typeface="IBM Plex Sans Medium" panose="020B0603050203000203" pitchFamily="34" charset="0"/>
              </a:rPr>
              <a:t>50%</a:t>
            </a:r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5A703E02-9EAF-664C-A3DA-214F0103D2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70332" y="2349475"/>
            <a:ext cx="571500" cy="571500"/>
          </a:xfrm>
          <a:prstGeom prst="rect">
            <a:avLst/>
          </a:prstGeom>
        </p:spPr>
      </p:pic>
      <p:sp>
        <p:nvSpPr>
          <p:cNvPr id="58" name="Oval 57">
            <a:extLst>
              <a:ext uri="{FF2B5EF4-FFF2-40B4-BE49-F238E27FC236}">
                <a16:creationId xmlns:a16="http://schemas.microsoft.com/office/drawing/2014/main" id="{83060E8E-94B2-EE4D-826C-C445C5E2CAFB}"/>
              </a:ext>
            </a:extLst>
          </p:cNvPr>
          <p:cNvSpPr/>
          <p:nvPr/>
        </p:nvSpPr>
        <p:spPr>
          <a:xfrm>
            <a:off x="5202753" y="4657900"/>
            <a:ext cx="906658" cy="903311"/>
          </a:xfrm>
          <a:prstGeom prst="ellipse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262626"/>
              </a:solidFill>
              <a:latin typeface="+mj-lt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F4AAA412-DD48-C24E-A356-BBC0669F9F9B}"/>
              </a:ext>
            </a:extLst>
          </p:cNvPr>
          <p:cNvSpPr/>
          <p:nvPr/>
        </p:nvSpPr>
        <p:spPr>
          <a:xfrm>
            <a:off x="5202753" y="3420735"/>
            <a:ext cx="906658" cy="903311"/>
          </a:xfrm>
          <a:prstGeom prst="ellipse">
            <a:avLst/>
          </a:prstGeom>
          <a:solidFill>
            <a:srgbClr val="509AA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262626"/>
              </a:solidFill>
              <a:latin typeface="+mj-lt"/>
            </a:endParaRPr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3F981FBE-908D-8145-ADB1-731962FFA3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70332" y="3586640"/>
            <a:ext cx="571500" cy="57150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A4BCC25A-88F6-E84C-9FD6-6A343EE768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70332" y="4823805"/>
            <a:ext cx="571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5303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93FC9D86-0993-4648-8C51-302DF4BAEE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4D37667-BD86-4248-95C6-5E9E801ED0C9}"/>
              </a:ext>
            </a:extLst>
          </p:cNvPr>
          <p:cNvSpPr/>
          <p:nvPr/>
        </p:nvSpPr>
        <p:spPr bwMode="auto">
          <a:xfrm>
            <a:off x="1" y="-1"/>
            <a:ext cx="9906000" cy="6858001"/>
          </a:xfrm>
          <a:prstGeom prst="rect">
            <a:avLst/>
          </a:prstGeom>
          <a:gradFill>
            <a:gsLst>
              <a:gs pos="100000">
                <a:srgbClr val="509AAF">
                  <a:alpha val="80000"/>
                </a:srgbClr>
              </a:gs>
              <a:gs pos="18000">
                <a:srgbClr val="612C83">
                  <a:alpha val="95000"/>
                </a:srgbClr>
              </a:gs>
            </a:gsLst>
            <a:lin ang="0" scaled="1"/>
          </a:gra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58AD931-C01F-874E-800C-79E2C5614864}"/>
              </a:ext>
            </a:extLst>
          </p:cNvPr>
          <p:cNvSpPr txBox="1"/>
          <p:nvPr/>
        </p:nvSpPr>
        <p:spPr>
          <a:xfrm>
            <a:off x="7471681" y="227576"/>
            <a:ext cx="2016595" cy="374571"/>
          </a:xfrm>
          <a:prstGeom prst="roundRect">
            <a:avLst/>
          </a:prstGeom>
          <a:noFill/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Executive Advisors</a:t>
            </a:r>
          </a:p>
        </p:txBody>
      </p:sp>
      <p:sp>
        <p:nvSpPr>
          <p:cNvPr id="8" name="Rectangle: Rounded Corners 47">
            <a:extLst>
              <a:ext uri="{FF2B5EF4-FFF2-40B4-BE49-F238E27FC236}">
                <a16:creationId xmlns:a16="http://schemas.microsoft.com/office/drawing/2014/main" id="{5061BC5B-38BA-A041-BB3D-7E16CA46A7C4}"/>
              </a:ext>
            </a:extLst>
          </p:cNvPr>
          <p:cNvSpPr/>
          <p:nvPr/>
        </p:nvSpPr>
        <p:spPr bwMode="auto">
          <a:xfrm>
            <a:off x="417513" y="4039790"/>
            <a:ext cx="547016" cy="204311"/>
          </a:xfrm>
          <a:prstGeom prst="roundRect">
            <a:avLst/>
          </a:prstGeom>
          <a:solidFill>
            <a:srgbClr val="F5FFC3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A29910-A5DB-AB4A-869D-0F9053B129B0}"/>
              </a:ext>
            </a:extLst>
          </p:cNvPr>
          <p:cNvSpPr txBox="1"/>
          <p:nvPr/>
        </p:nvSpPr>
        <p:spPr>
          <a:xfrm>
            <a:off x="417513" y="4350721"/>
            <a:ext cx="7672387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lang="en-US" sz="3600" dirty="0">
                <a:solidFill>
                  <a:schemeClr val="bg1"/>
                </a:solidFill>
                <a:latin typeface="IBM Plex Sans SemiBold" panose="020B0703050203000203" pitchFamily="34" charset="0"/>
                <a:cs typeface="Poppins Black" panose="00000A00000000000000" pitchFamily="2" charset="0"/>
              </a:rPr>
              <a:t>With           from Boston</a:t>
            </a:r>
            <a:endParaRPr lang="en-US" sz="3600" dirty="0">
              <a:solidFill>
                <a:srgbClr val="F5FFC3"/>
              </a:solidFill>
              <a:latin typeface="IBM Plex Sans SemiBold" panose="020B0703050203000203" pitchFamily="34" charset="0"/>
              <a:cs typeface="Poppins Black" panose="00000A00000000000000" pitchFamily="2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D7DDACF-EF37-1242-B5C1-801446DAAE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92249" y="4178300"/>
            <a:ext cx="974725" cy="97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58046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E86EF-3F3A-8D49-8900-7E36D9552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itle goes here in IBM </a:t>
            </a:r>
            <a:r>
              <a:rPr lang="en-US" dirty="0" err="1"/>
              <a:t>SemiBold</a:t>
            </a:r>
            <a:r>
              <a:rPr lang="en-US" dirty="0"/>
              <a:t> size 24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DC2D31-9264-B441-8131-B0E886F40F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31A60A-7068-7D43-A743-240A645E26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pc="100" dirty="0">
                <a:latin typeface="Poppins Medium" panose="00000600000000000000" pitchFamily="2" charset="0"/>
                <a:cs typeface="Poppins Medium" panose="00000600000000000000" pitchFamily="2" charset="0"/>
              </a:rPr>
              <a:t>Subtitle goes here in Poppins Medium size 9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C04C0A-58F8-1945-884D-32B508BC672B}"/>
              </a:ext>
            </a:extLst>
          </p:cNvPr>
          <p:cNvSpPr/>
          <p:nvPr/>
        </p:nvSpPr>
        <p:spPr bwMode="auto">
          <a:xfrm>
            <a:off x="417513" y="1524000"/>
            <a:ext cx="9072562" cy="476250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rtlCol="0" anchor="ctr">
            <a:noAutofit/>
          </a:bodyPr>
          <a:lstStyle/>
          <a:p>
            <a:r>
              <a:rPr lang="de-DE" dirty="0">
                <a:solidFill>
                  <a:srgbClr val="FF0000"/>
                </a:solidFill>
              </a:rPr>
              <a:t>This is the slide frame. </a:t>
            </a:r>
          </a:p>
          <a:p>
            <a:r>
              <a:rPr lang="de-DE">
                <a:solidFill>
                  <a:srgbClr val="FF0000"/>
                </a:solidFill>
              </a:rPr>
              <a:t>Content of a slide should fill this and be fitted to the edge of the rectangle perfectly</a:t>
            </a:r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6" name="Isosceles Triangle 12">
            <a:extLst>
              <a:ext uri="{FF2B5EF4-FFF2-40B4-BE49-F238E27FC236}">
                <a16:creationId xmlns:a16="http://schemas.microsoft.com/office/drawing/2014/main" id="{D148EA11-D1FB-8E44-9D91-E99CD0829A69}"/>
              </a:ext>
            </a:extLst>
          </p:cNvPr>
          <p:cNvSpPr/>
          <p:nvPr/>
        </p:nvSpPr>
        <p:spPr bwMode="auto">
          <a:xfrm rot="16200000">
            <a:off x="384915" y="3494690"/>
            <a:ext cx="952500" cy="821121"/>
          </a:xfrm>
          <a:prstGeom prst="triangle">
            <a:avLst/>
          </a:prstGeom>
          <a:solidFill>
            <a:schemeClr val="accent5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666CD603-76D5-E14D-903F-47711A1B2820}"/>
              </a:ext>
            </a:extLst>
          </p:cNvPr>
          <p:cNvSpPr/>
          <p:nvPr/>
        </p:nvSpPr>
        <p:spPr bwMode="auto">
          <a:xfrm rot="5400000">
            <a:off x="8603264" y="3494690"/>
            <a:ext cx="952500" cy="821121"/>
          </a:xfrm>
          <a:prstGeom prst="triangle">
            <a:avLst/>
          </a:prstGeom>
          <a:solidFill>
            <a:schemeClr val="accent5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8" name="Isosceles Triangle 14">
            <a:extLst>
              <a:ext uri="{FF2B5EF4-FFF2-40B4-BE49-F238E27FC236}">
                <a16:creationId xmlns:a16="http://schemas.microsoft.com/office/drawing/2014/main" id="{E986A6B6-4996-974E-8CA1-3896FF5E4E92}"/>
              </a:ext>
            </a:extLst>
          </p:cNvPr>
          <p:cNvSpPr/>
          <p:nvPr/>
        </p:nvSpPr>
        <p:spPr bwMode="auto">
          <a:xfrm rot="10800000">
            <a:off x="4477545" y="5462713"/>
            <a:ext cx="952500" cy="821121"/>
          </a:xfrm>
          <a:prstGeom prst="triangle">
            <a:avLst/>
          </a:prstGeom>
          <a:solidFill>
            <a:schemeClr val="accent5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9" name="Isosceles Triangle 15">
            <a:extLst>
              <a:ext uri="{FF2B5EF4-FFF2-40B4-BE49-F238E27FC236}">
                <a16:creationId xmlns:a16="http://schemas.microsoft.com/office/drawing/2014/main" id="{3F63BBBB-7E8E-5243-8F72-D717FCA6AD40}"/>
              </a:ext>
            </a:extLst>
          </p:cNvPr>
          <p:cNvSpPr/>
          <p:nvPr/>
        </p:nvSpPr>
        <p:spPr bwMode="auto">
          <a:xfrm>
            <a:off x="4477545" y="1524000"/>
            <a:ext cx="952500" cy="821121"/>
          </a:xfrm>
          <a:prstGeom prst="triangle">
            <a:avLst/>
          </a:prstGeom>
          <a:solidFill>
            <a:schemeClr val="accent5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81F7FD-4F5D-BC43-84D8-64E93A786175}"/>
              </a:ext>
            </a:extLst>
          </p:cNvPr>
          <p:cNvSpPr txBox="1"/>
          <p:nvPr/>
        </p:nvSpPr>
        <p:spPr>
          <a:xfrm>
            <a:off x="1271726" y="3766751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IBM Plex Sans Light" panose="020B0403050203000203" pitchFamily="34" charset="0"/>
              </a:rPr>
              <a:t>4.96i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B5398D-7FE2-DA4A-9049-74377F19CDE2}"/>
              </a:ext>
            </a:extLst>
          </p:cNvPr>
          <p:cNvSpPr txBox="1"/>
          <p:nvPr/>
        </p:nvSpPr>
        <p:spPr>
          <a:xfrm>
            <a:off x="7774873" y="3766751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IBM Plex Sans Light" panose="020B0403050203000203" pitchFamily="34" charset="0"/>
              </a:rPr>
              <a:t>4.96i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D31112-2C67-F944-9026-3CD656F59E15}"/>
              </a:ext>
            </a:extLst>
          </p:cNvPr>
          <p:cNvSpPr txBox="1"/>
          <p:nvPr/>
        </p:nvSpPr>
        <p:spPr>
          <a:xfrm>
            <a:off x="4496594" y="4995998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IBM Plex Sans Light" panose="020B0403050203000203" pitchFamily="34" charset="0"/>
              </a:rPr>
              <a:t>3.13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1B120E-D370-654C-9373-BECD63667BF5}"/>
              </a:ext>
            </a:extLst>
          </p:cNvPr>
          <p:cNvSpPr txBox="1"/>
          <p:nvPr/>
        </p:nvSpPr>
        <p:spPr>
          <a:xfrm>
            <a:off x="4496594" y="2405393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IBM Plex Sans Light" panose="020B0403050203000203" pitchFamily="34" charset="0"/>
              </a:rPr>
              <a:t>2.08in</a:t>
            </a:r>
          </a:p>
        </p:txBody>
      </p:sp>
    </p:spTree>
    <p:extLst>
      <p:ext uri="{BB962C8B-B14F-4D97-AF65-F5344CB8AC3E}">
        <p14:creationId xmlns:p14="http://schemas.microsoft.com/office/powerpoint/2010/main" val="71670999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E86EF-3F3A-8D49-8900-7E36D9552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8 week Sprint – Project design guide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DC2D31-9264-B441-8131-B0E886F40F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31A60A-7068-7D43-A743-240A645E26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pc="100" dirty="0">
                <a:latin typeface="Poppins Medium" panose="00000600000000000000" pitchFamily="2" charset="0"/>
                <a:cs typeface="Poppins Medium" panose="00000600000000000000" pitchFamily="2" charset="0"/>
              </a:rPr>
              <a:t>Subtitle goes here in Poppins Medium size 9 </a:t>
            </a:r>
          </a:p>
        </p:txBody>
      </p:sp>
      <p:sp>
        <p:nvSpPr>
          <p:cNvPr id="13" name="Rectangle: Rounded Corners 10">
            <a:extLst>
              <a:ext uri="{FF2B5EF4-FFF2-40B4-BE49-F238E27FC236}">
                <a16:creationId xmlns:a16="http://schemas.microsoft.com/office/drawing/2014/main" id="{605E3154-AF6A-4CF1-9D3D-EA70B44F9988}"/>
              </a:ext>
            </a:extLst>
          </p:cNvPr>
          <p:cNvSpPr/>
          <p:nvPr/>
        </p:nvSpPr>
        <p:spPr bwMode="auto">
          <a:xfrm>
            <a:off x="4191000" y="3174281"/>
            <a:ext cx="1524001" cy="1368583"/>
          </a:xfrm>
          <a:prstGeom prst="roundRect">
            <a:avLst>
              <a:gd name="adj" fmla="val 10929"/>
            </a:avLst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IN" dirty="0">
              <a:solidFill>
                <a:srgbClr val="FFFF00"/>
              </a:solidFill>
              <a:latin typeface="IBM Plex Sans Medium" panose="020B0604020202020204" charset="0"/>
              <a:cs typeface="IBM Plex Sans Medium" panose="020B0604020202020204" charset="0"/>
            </a:endParaRPr>
          </a:p>
        </p:txBody>
      </p: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099C4ABE-2EFC-472C-B350-D73746BA8B3F}"/>
              </a:ext>
            </a:extLst>
          </p:cNvPr>
          <p:cNvCxnSpPr>
            <a:cxnSpLocks/>
            <a:stCxn id="13" idx="1"/>
          </p:cNvCxnSpPr>
          <p:nvPr/>
        </p:nvCxnSpPr>
        <p:spPr bwMode="auto">
          <a:xfrm flipH="1">
            <a:off x="4065262" y="3858573"/>
            <a:ext cx="125738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7DD8C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4E83DDF8-DB10-46E3-BF8B-F401E3FDBE55}"/>
              </a:ext>
            </a:extLst>
          </p:cNvPr>
          <p:cNvCxnSpPr>
            <a:cxnSpLocks/>
            <a:stCxn id="13" idx="3"/>
          </p:cNvCxnSpPr>
          <p:nvPr/>
        </p:nvCxnSpPr>
        <p:spPr bwMode="auto">
          <a:xfrm>
            <a:off x="5715001" y="3858573"/>
            <a:ext cx="10918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7DD8C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AE41728B-93B2-46A1-A9FB-2E2A386E7ECA}"/>
              </a:ext>
            </a:extLst>
          </p:cNvPr>
          <p:cNvSpPr txBox="1"/>
          <p:nvPr/>
        </p:nvSpPr>
        <p:spPr>
          <a:xfrm>
            <a:off x="4192818" y="3198058"/>
            <a:ext cx="1481514" cy="1292662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r>
              <a:rPr lang="en-IN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Number of participants – 24      </a:t>
            </a:r>
          </a:p>
          <a:p>
            <a:r>
              <a:rPr lang="en-IN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Start date – 19</a:t>
            </a:r>
            <a:r>
              <a:rPr lang="en-IN" baseline="30000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th</a:t>
            </a:r>
            <a:r>
              <a:rPr lang="en-IN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 May</a:t>
            </a:r>
          </a:p>
          <a:p>
            <a:r>
              <a:rPr lang="en-IN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Headed by CEO</a:t>
            </a:r>
          </a:p>
        </p:txBody>
      </p:sp>
      <p:sp>
        <p:nvSpPr>
          <p:cNvPr id="65" name="Rectangle: Rounded Corners 10">
            <a:extLst>
              <a:ext uri="{FF2B5EF4-FFF2-40B4-BE49-F238E27FC236}">
                <a16:creationId xmlns:a16="http://schemas.microsoft.com/office/drawing/2014/main" id="{78AA1688-35DF-4E63-BD74-6AD0AEAD1E74}"/>
              </a:ext>
            </a:extLst>
          </p:cNvPr>
          <p:cNvSpPr/>
          <p:nvPr/>
        </p:nvSpPr>
        <p:spPr bwMode="auto">
          <a:xfrm>
            <a:off x="422516" y="1522103"/>
            <a:ext cx="2286000" cy="961322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sp>
        <p:nvSpPr>
          <p:cNvPr id="66" name="Rectangle: Rounded Corners 10">
            <a:extLst>
              <a:ext uri="{FF2B5EF4-FFF2-40B4-BE49-F238E27FC236}">
                <a16:creationId xmlns:a16="http://schemas.microsoft.com/office/drawing/2014/main" id="{6E1D8AD1-4638-4457-A981-8896730FD406}"/>
              </a:ext>
            </a:extLst>
          </p:cNvPr>
          <p:cNvSpPr/>
          <p:nvPr/>
        </p:nvSpPr>
        <p:spPr bwMode="auto">
          <a:xfrm>
            <a:off x="423545" y="2792343"/>
            <a:ext cx="2286000" cy="961322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rgbClr val="509AAF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67" name="Rectangle: Rounded Corners 10">
            <a:extLst>
              <a:ext uri="{FF2B5EF4-FFF2-40B4-BE49-F238E27FC236}">
                <a16:creationId xmlns:a16="http://schemas.microsoft.com/office/drawing/2014/main" id="{95CE6FF2-9270-4002-AA51-1F0E5D5DCE55}"/>
              </a:ext>
            </a:extLst>
          </p:cNvPr>
          <p:cNvSpPr/>
          <p:nvPr/>
        </p:nvSpPr>
        <p:spPr bwMode="auto">
          <a:xfrm>
            <a:off x="422516" y="4057966"/>
            <a:ext cx="2286000" cy="961322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rgbClr val="509AAF"/>
              </a:solidFill>
              <a:latin typeface="IBM Plex Sans Light" panose="020B0604020202020204" charset="0"/>
            </a:endParaRPr>
          </a:p>
        </p:txBody>
      </p:sp>
      <p:sp>
        <p:nvSpPr>
          <p:cNvPr id="72" name="Rectangle: Rounded Corners 10">
            <a:extLst>
              <a:ext uri="{FF2B5EF4-FFF2-40B4-BE49-F238E27FC236}">
                <a16:creationId xmlns:a16="http://schemas.microsoft.com/office/drawing/2014/main" id="{BF6C347D-90F8-4775-90DE-92316BDF2806}"/>
              </a:ext>
            </a:extLst>
          </p:cNvPr>
          <p:cNvSpPr/>
          <p:nvPr/>
        </p:nvSpPr>
        <p:spPr bwMode="auto">
          <a:xfrm>
            <a:off x="424159" y="5323590"/>
            <a:ext cx="2286000" cy="961322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rgbClr val="509AAF"/>
              </a:solidFill>
              <a:latin typeface="IBM Plex Sans Light" panose="020B0403050203000203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EEC7D46-63D4-4F1A-97AE-EECBDAA24469}"/>
              </a:ext>
            </a:extLst>
          </p:cNvPr>
          <p:cNvCxnSpPr>
            <a:cxnSpLocks/>
            <a:stCxn id="52" idx="3"/>
            <a:endCxn id="53" idx="3"/>
          </p:cNvCxnSpPr>
          <p:nvPr/>
        </p:nvCxnSpPr>
        <p:spPr bwMode="auto">
          <a:xfrm>
            <a:off x="4065262" y="2012236"/>
            <a:ext cx="11589" cy="379201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DD8C7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D76B2B5-3A9B-41FB-A85C-666040909433}"/>
              </a:ext>
            </a:extLst>
          </p:cNvPr>
          <p:cNvCxnSpPr>
            <a:cxnSpLocks/>
            <a:stCxn id="52" idx="1"/>
            <a:endCxn id="65" idx="3"/>
          </p:cNvCxnSpPr>
          <p:nvPr/>
        </p:nvCxnSpPr>
        <p:spPr bwMode="auto">
          <a:xfrm flipH="1" flipV="1">
            <a:off x="2708516" y="2002764"/>
            <a:ext cx="567759" cy="947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509AAF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FB2B186-2B5E-4DFD-A132-FD81E905294E}"/>
              </a:ext>
            </a:extLst>
          </p:cNvPr>
          <p:cNvCxnSpPr>
            <a:cxnSpLocks/>
          </p:cNvCxnSpPr>
          <p:nvPr/>
        </p:nvCxnSpPr>
        <p:spPr bwMode="auto">
          <a:xfrm flipH="1">
            <a:off x="2705320" y="3273005"/>
            <a:ext cx="57594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509AAF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5C8F42A2-999F-4775-9640-58F969E2B242}"/>
              </a:ext>
            </a:extLst>
          </p:cNvPr>
          <p:cNvCxnSpPr>
            <a:cxnSpLocks/>
            <a:stCxn id="54" idx="1"/>
            <a:endCxn id="67" idx="3"/>
          </p:cNvCxnSpPr>
          <p:nvPr/>
        </p:nvCxnSpPr>
        <p:spPr bwMode="auto">
          <a:xfrm flipH="1">
            <a:off x="2708516" y="4536989"/>
            <a:ext cx="572757" cy="163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71AB4A24-E41C-4A55-A792-517A5A3FA486}"/>
              </a:ext>
            </a:extLst>
          </p:cNvPr>
          <p:cNvCxnSpPr>
            <a:cxnSpLocks/>
            <a:stCxn id="53" idx="1"/>
            <a:endCxn id="72" idx="3"/>
          </p:cNvCxnSpPr>
          <p:nvPr/>
        </p:nvCxnSpPr>
        <p:spPr bwMode="auto">
          <a:xfrm flipH="1">
            <a:off x="2710159" y="5804247"/>
            <a:ext cx="577705" cy="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2" name="Rectangle: Rounded Corners 4">
            <a:extLst>
              <a:ext uri="{FF2B5EF4-FFF2-40B4-BE49-F238E27FC236}">
                <a16:creationId xmlns:a16="http://schemas.microsoft.com/office/drawing/2014/main" id="{2703DCC4-5679-48C8-A1B9-C1B75A153067}"/>
              </a:ext>
            </a:extLst>
          </p:cNvPr>
          <p:cNvSpPr/>
          <p:nvPr/>
        </p:nvSpPr>
        <p:spPr bwMode="auto">
          <a:xfrm>
            <a:off x="3276275" y="1852016"/>
            <a:ext cx="788987" cy="320441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1200" dirty="0">
                <a:latin typeface="IBM Plex Sans Medium" panose="020B0603050203000203" pitchFamily="34" charset="0"/>
              </a:rPr>
              <a:t>1</a:t>
            </a:r>
          </a:p>
        </p:txBody>
      </p:sp>
      <p:sp>
        <p:nvSpPr>
          <p:cNvPr id="53" name="Rectangle: Rounded Corners 4">
            <a:extLst>
              <a:ext uri="{FF2B5EF4-FFF2-40B4-BE49-F238E27FC236}">
                <a16:creationId xmlns:a16="http://schemas.microsoft.com/office/drawing/2014/main" id="{D7CB0B5A-EFFB-402D-950C-0AA430EAB902}"/>
              </a:ext>
            </a:extLst>
          </p:cNvPr>
          <p:cNvSpPr/>
          <p:nvPr/>
        </p:nvSpPr>
        <p:spPr bwMode="auto">
          <a:xfrm>
            <a:off x="3287864" y="5644026"/>
            <a:ext cx="788987" cy="320441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54" name="Rectangle: Rounded Corners 4">
            <a:extLst>
              <a:ext uri="{FF2B5EF4-FFF2-40B4-BE49-F238E27FC236}">
                <a16:creationId xmlns:a16="http://schemas.microsoft.com/office/drawing/2014/main" id="{AA1C5022-563C-4854-9F9F-0C8B2A5A5054}"/>
              </a:ext>
            </a:extLst>
          </p:cNvPr>
          <p:cNvSpPr/>
          <p:nvPr/>
        </p:nvSpPr>
        <p:spPr bwMode="auto">
          <a:xfrm>
            <a:off x="3281273" y="4376769"/>
            <a:ext cx="788987" cy="320441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55" name="Rectangle: Rounded Corners 4">
            <a:extLst>
              <a:ext uri="{FF2B5EF4-FFF2-40B4-BE49-F238E27FC236}">
                <a16:creationId xmlns:a16="http://schemas.microsoft.com/office/drawing/2014/main" id="{D40C68A4-8BD0-4495-ACE5-09E9E22B3786}"/>
              </a:ext>
            </a:extLst>
          </p:cNvPr>
          <p:cNvSpPr/>
          <p:nvPr/>
        </p:nvSpPr>
        <p:spPr bwMode="auto">
          <a:xfrm>
            <a:off x="3277868" y="3112784"/>
            <a:ext cx="788987" cy="320441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 </a:t>
            </a:r>
            <a:endParaRPr lang="de-DE" dirty="0">
              <a:solidFill>
                <a:schemeClr val="tx2"/>
              </a:solidFill>
            </a:endParaRPr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04795857-8DE3-4B64-AF7E-9AC93CDC2398}"/>
              </a:ext>
            </a:extLst>
          </p:cNvPr>
          <p:cNvGrpSpPr/>
          <p:nvPr/>
        </p:nvGrpSpPr>
        <p:grpSpPr>
          <a:xfrm>
            <a:off x="3175231" y="5719367"/>
            <a:ext cx="182880" cy="192264"/>
            <a:chOff x="499610" y="3085106"/>
            <a:chExt cx="457200" cy="457200"/>
          </a:xfrm>
        </p:grpSpPr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AFE63708-DB06-450A-A576-DE705F3AED0F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A12E9F76-4613-47DC-A161-4EEF5C8524D4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CF79EBE1-3F60-4C0A-8F51-5A585C894AD9}"/>
              </a:ext>
            </a:extLst>
          </p:cNvPr>
          <p:cNvGrpSpPr/>
          <p:nvPr/>
        </p:nvGrpSpPr>
        <p:grpSpPr>
          <a:xfrm>
            <a:off x="3175231" y="4455381"/>
            <a:ext cx="182880" cy="192264"/>
            <a:chOff x="499610" y="3085106"/>
            <a:chExt cx="457200" cy="457200"/>
          </a:xfrm>
        </p:grpSpPr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F19AFAA6-6400-4390-A6B8-6C88820D9FC8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514EF987-241D-4978-8C48-734EED08F4E7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906EBA3B-E6D5-49E5-88BB-F135CCEE4977}"/>
              </a:ext>
            </a:extLst>
          </p:cNvPr>
          <p:cNvGrpSpPr/>
          <p:nvPr/>
        </p:nvGrpSpPr>
        <p:grpSpPr>
          <a:xfrm>
            <a:off x="3201596" y="3191396"/>
            <a:ext cx="182880" cy="192264"/>
            <a:chOff x="499610" y="3085106"/>
            <a:chExt cx="457200" cy="457200"/>
          </a:xfrm>
        </p:grpSpPr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4EA74E1D-9847-4C0F-B838-001EAA7BF06F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7176CE80-0769-4CD6-860F-CE554DADF19A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8CCFAF9C-6315-4FCA-B9FB-B4244CFA1FED}"/>
              </a:ext>
            </a:extLst>
          </p:cNvPr>
          <p:cNvGrpSpPr/>
          <p:nvPr/>
        </p:nvGrpSpPr>
        <p:grpSpPr>
          <a:xfrm>
            <a:off x="3175231" y="1927412"/>
            <a:ext cx="182880" cy="192264"/>
            <a:chOff x="499610" y="3085106"/>
            <a:chExt cx="457200" cy="457200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1A2B32A0-6171-4018-A1E6-88914B394EE9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EC10A747-045B-41F9-A96E-3DA023996910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sp>
        <p:nvSpPr>
          <p:cNvPr id="68" name="Rectangle: Rounded Corners 10">
            <a:extLst>
              <a:ext uri="{FF2B5EF4-FFF2-40B4-BE49-F238E27FC236}">
                <a16:creationId xmlns:a16="http://schemas.microsoft.com/office/drawing/2014/main" id="{C9D3FFF2-9781-4CF4-98A8-85D1031D3045}"/>
              </a:ext>
            </a:extLst>
          </p:cNvPr>
          <p:cNvSpPr/>
          <p:nvPr/>
        </p:nvSpPr>
        <p:spPr bwMode="auto">
          <a:xfrm>
            <a:off x="7200308" y="5321095"/>
            <a:ext cx="2286000" cy="960120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rgbClr val="509AAF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69" name="Rectangle: Rounded Corners 10">
            <a:extLst>
              <a:ext uri="{FF2B5EF4-FFF2-40B4-BE49-F238E27FC236}">
                <a16:creationId xmlns:a16="http://schemas.microsoft.com/office/drawing/2014/main" id="{8FC623A1-489A-421A-8FE3-0B7CC3D8A759}"/>
              </a:ext>
            </a:extLst>
          </p:cNvPr>
          <p:cNvSpPr/>
          <p:nvPr/>
        </p:nvSpPr>
        <p:spPr bwMode="auto">
          <a:xfrm>
            <a:off x="7198499" y="4070421"/>
            <a:ext cx="2286000" cy="960120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sp>
        <p:nvSpPr>
          <p:cNvPr id="70" name="Rectangle: Rounded Corners 10">
            <a:extLst>
              <a:ext uri="{FF2B5EF4-FFF2-40B4-BE49-F238E27FC236}">
                <a16:creationId xmlns:a16="http://schemas.microsoft.com/office/drawing/2014/main" id="{98A32631-1235-4401-A7CC-D2B9BCEDF65D}"/>
              </a:ext>
            </a:extLst>
          </p:cNvPr>
          <p:cNvSpPr/>
          <p:nvPr/>
        </p:nvSpPr>
        <p:spPr bwMode="auto">
          <a:xfrm>
            <a:off x="7200404" y="2799677"/>
            <a:ext cx="2286000" cy="960120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sp>
        <p:nvSpPr>
          <p:cNvPr id="71" name="Rectangle: Rounded Corners 10">
            <a:extLst>
              <a:ext uri="{FF2B5EF4-FFF2-40B4-BE49-F238E27FC236}">
                <a16:creationId xmlns:a16="http://schemas.microsoft.com/office/drawing/2014/main" id="{6E2E6900-11F9-498B-ACD3-C861B0B31A3C}"/>
              </a:ext>
            </a:extLst>
          </p:cNvPr>
          <p:cNvSpPr/>
          <p:nvPr/>
        </p:nvSpPr>
        <p:spPr bwMode="auto">
          <a:xfrm>
            <a:off x="7197483" y="1524315"/>
            <a:ext cx="2286000" cy="960120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7F6A035-FED6-4CE0-9FB4-1B5776D3FA1A}"/>
              </a:ext>
            </a:extLst>
          </p:cNvPr>
          <p:cNvCxnSpPr>
            <a:cxnSpLocks/>
            <a:stCxn id="62" idx="1"/>
            <a:endCxn id="59" idx="1"/>
          </p:cNvCxnSpPr>
          <p:nvPr/>
        </p:nvCxnSpPr>
        <p:spPr bwMode="auto">
          <a:xfrm>
            <a:off x="5824185" y="2003172"/>
            <a:ext cx="15122" cy="380986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DD8C7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200ED385-2909-4F11-8EAC-19241AE4DD43}"/>
              </a:ext>
            </a:extLst>
          </p:cNvPr>
          <p:cNvCxnSpPr>
            <a:cxnSpLocks/>
            <a:stCxn id="62" idx="3"/>
            <a:endCxn id="71" idx="1"/>
          </p:cNvCxnSpPr>
          <p:nvPr/>
        </p:nvCxnSpPr>
        <p:spPr bwMode="auto">
          <a:xfrm>
            <a:off x="6613172" y="2003172"/>
            <a:ext cx="584311" cy="120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F4A7C40B-7D9E-422B-A9AE-C69FE9E6E19C}"/>
              </a:ext>
            </a:extLst>
          </p:cNvPr>
          <p:cNvCxnSpPr>
            <a:cxnSpLocks/>
            <a:stCxn id="61" idx="3"/>
            <a:endCxn id="70" idx="1"/>
          </p:cNvCxnSpPr>
          <p:nvPr/>
        </p:nvCxnSpPr>
        <p:spPr bwMode="auto">
          <a:xfrm>
            <a:off x="6620733" y="3269513"/>
            <a:ext cx="579671" cy="1022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B95C9168-138A-4322-81DC-8F317FFAD286}"/>
              </a:ext>
            </a:extLst>
          </p:cNvPr>
          <p:cNvCxnSpPr>
            <a:cxnSpLocks/>
            <a:stCxn id="60" idx="3"/>
            <a:endCxn id="69" idx="1"/>
          </p:cNvCxnSpPr>
          <p:nvPr/>
        </p:nvCxnSpPr>
        <p:spPr bwMode="auto">
          <a:xfrm>
            <a:off x="6614942" y="4541277"/>
            <a:ext cx="583557" cy="920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583035EE-7F57-47C8-9DCB-63276537446F}"/>
              </a:ext>
            </a:extLst>
          </p:cNvPr>
          <p:cNvCxnSpPr>
            <a:cxnSpLocks/>
          </p:cNvCxnSpPr>
          <p:nvPr/>
        </p:nvCxnSpPr>
        <p:spPr bwMode="auto">
          <a:xfrm flipV="1">
            <a:off x="6628294" y="5790333"/>
            <a:ext cx="569093" cy="1188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9" name="Rectangle: Rounded Corners 4">
            <a:extLst>
              <a:ext uri="{FF2B5EF4-FFF2-40B4-BE49-F238E27FC236}">
                <a16:creationId xmlns:a16="http://schemas.microsoft.com/office/drawing/2014/main" id="{B6667042-62F6-4FC9-A1FD-65C74DB513BC}"/>
              </a:ext>
            </a:extLst>
          </p:cNvPr>
          <p:cNvSpPr/>
          <p:nvPr/>
        </p:nvSpPr>
        <p:spPr bwMode="auto">
          <a:xfrm>
            <a:off x="5839307" y="5655749"/>
            <a:ext cx="788987" cy="314583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0" name="Rectangle: Rounded Corners 4">
            <a:extLst>
              <a:ext uri="{FF2B5EF4-FFF2-40B4-BE49-F238E27FC236}">
                <a16:creationId xmlns:a16="http://schemas.microsoft.com/office/drawing/2014/main" id="{F2607958-339E-4E37-9FB3-110BF8336CF2}"/>
              </a:ext>
            </a:extLst>
          </p:cNvPr>
          <p:cNvSpPr/>
          <p:nvPr/>
        </p:nvSpPr>
        <p:spPr bwMode="auto">
          <a:xfrm>
            <a:off x="5825955" y="4383985"/>
            <a:ext cx="788987" cy="314583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1" name="Rectangle: Rounded Corners 4">
            <a:extLst>
              <a:ext uri="{FF2B5EF4-FFF2-40B4-BE49-F238E27FC236}">
                <a16:creationId xmlns:a16="http://schemas.microsoft.com/office/drawing/2014/main" id="{EA44D18C-824E-4664-A62B-ABB57A86587C}"/>
              </a:ext>
            </a:extLst>
          </p:cNvPr>
          <p:cNvSpPr/>
          <p:nvPr/>
        </p:nvSpPr>
        <p:spPr bwMode="auto">
          <a:xfrm>
            <a:off x="5831746" y="3112221"/>
            <a:ext cx="788987" cy="314583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2" name="Rectangle: Rounded Corners 4">
            <a:extLst>
              <a:ext uri="{FF2B5EF4-FFF2-40B4-BE49-F238E27FC236}">
                <a16:creationId xmlns:a16="http://schemas.microsoft.com/office/drawing/2014/main" id="{6AFBDEC7-2D7A-42FE-971B-6E4E60E2CE5F}"/>
              </a:ext>
            </a:extLst>
          </p:cNvPr>
          <p:cNvSpPr/>
          <p:nvPr/>
        </p:nvSpPr>
        <p:spPr bwMode="auto">
          <a:xfrm>
            <a:off x="5824185" y="1845880"/>
            <a:ext cx="788987" cy="314583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2356DFC7-7E47-4FE6-9159-F9B203A68981}"/>
              </a:ext>
            </a:extLst>
          </p:cNvPr>
          <p:cNvGrpSpPr/>
          <p:nvPr/>
        </p:nvGrpSpPr>
        <p:grpSpPr>
          <a:xfrm>
            <a:off x="6490636" y="5704920"/>
            <a:ext cx="182880" cy="188750"/>
            <a:chOff x="499610" y="3085106"/>
            <a:chExt cx="457200" cy="457200"/>
          </a:xfrm>
        </p:grpSpPr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9C397930-E22C-439F-A08D-16F318124171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4091D3D8-E167-48AF-8DB0-A425ACB112BB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6100FDF7-AA30-4335-9FB5-2AFB6464E33A}"/>
              </a:ext>
            </a:extLst>
          </p:cNvPr>
          <p:cNvGrpSpPr/>
          <p:nvPr/>
        </p:nvGrpSpPr>
        <p:grpSpPr>
          <a:xfrm>
            <a:off x="6490636" y="4446516"/>
            <a:ext cx="182880" cy="188750"/>
            <a:chOff x="499610" y="3085106"/>
            <a:chExt cx="457200" cy="457200"/>
          </a:xfrm>
        </p:grpSpPr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DBADF336-A056-408C-A5FF-2FAFBE41DA5A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59A96C91-79F0-4713-846A-F63CB62C3C8F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5C54ABD0-3005-4DA1-A51C-5E509FB70E01}"/>
              </a:ext>
            </a:extLst>
          </p:cNvPr>
          <p:cNvGrpSpPr/>
          <p:nvPr/>
        </p:nvGrpSpPr>
        <p:grpSpPr>
          <a:xfrm>
            <a:off x="6487015" y="3167681"/>
            <a:ext cx="182880" cy="188750"/>
            <a:chOff x="499610" y="3085106"/>
            <a:chExt cx="457200" cy="457200"/>
          </a:xfrm>
        </p:grpSpPr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8606E82E-9739-458B-92C5-0C59B9B82420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81D43F23-B8CC-48AD-A426-66CC8861650B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10E47190-E79B-43F4-98EE-82B34E95FAFD}"/>
              </a:ext>
            </a:extLst>
          </p:cNvPr>
          <p:cNvGrpSpPr/>
          <p:nvPr/>
        </p:nvGrpSpPr>
        <p:grpSpPr>
          <a:xfrm>
            <a:off x="6485207" y="1910051"/>
            <a:ext cx="182880" cy="188750"/>
            <a:chOff x="499610" y="3085106"/>
            <a:chExt cx="457200" cy="457200"/>
          </a:xfrm>
        </p:grpSpPr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85F43C70-52DE-4732-82FA-89B082359C14}"/>
                </a:ext>
              </a:extLst>
            </p:cNvPr>
            <p:cNvSpPr/>
            <p:nvPr/>
          </p:nvSpPr>
          <p:spPr bwMode="auto">
            <a:xfrm>
              <a:off x="499610" y="308510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A203781C-4A74-4DB9-9E6B-4A34F844F99C}"/>
                </a:ext>
              </a:extLst>
            </p:cNvPr>
            <p:cNvSpPr/>
            <p:nvPr/>
          </p:nvSpPr>
          <p:spPr bwMode="auto">
            <a:xfrm>
              <a:off x="545330" y="3130826"/>
              <a:ext cx="365760" cy="365760"/>
            </a:xfrm>
            <a:prstGeom prst="ellipse">
              <a:avLst/>
            </a:prstGeom>
            <a:solidFill>
              <a:srgbClr val="509AAF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endParaRPr lang="en-IN" dirty="0">
                <a:solidFill>
                  <a:schemeClr val="tx2"/>
                </a:solidFill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DF561AF1-303F-4E74-9796-A37E41427962}"/>
              </a:ext>
            </a:extLst>
          </p:cNvPr>
          <p:cNvSpPr txBox="1"/>
          <p:nvPr/>
        </p:nvSpPr>
        <p:spPr>
          <a:xfrm>
            <a:off x="3333952" y="1832789"/>
            <a:ext cx="788987" cy="387832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1 Week 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4FFB903-D121-4214-A62B-DA7907215008}"/>
              </a:ext>
            </a:extLst>
          </p:cNvPr>
          <p:cNvSpPr txBox="1"/>
          <p:nvPr/>
        </p:nvSpPr>
        <p:spPr>
          <a:xfrm>
            <a:off x="5836483" y="1814739"/>
            <a:ext cx="776689" cy="296415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Week 5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DDBAD4F-12F6-4874-94B4-92E8B561C7A3}"/>
              </a:ext>
            </a:extLst>
          </p:cNvPr>
          <p:cNvSpPr txBox="1"/>
          <p:nvPr/>
        </p:nvSpPr>
        <p:spPr>
          <a:xfrm>
            <a:off x="3333952" y="3087818"/>
            <a:ext cx="807886" cy="295841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2 Week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C133FAF-17FA-4151-A72D-BF4BE1171C78}"/>
              </a:ext>
            </a:extLst>
          </p:cNvPr>
          <p:cNvSpPr txBox="1"/>
          <p:nvPr/>
        </p:nvSpPr>
        <p:spPr>
          <a:xfrm>
            <a:off x="3333952" y="4352220"/>
            <a:ext cx="713022" cy="424061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3 Week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15946D3-AD39-400A-9447-471FFCA70485}"/>
              </a:ext>
            </a:extLst>
          </p:cNvPr>
          <p:cNvSpPr txBox="1"/>
          <p:nvPr/>
        </p:nvSpPr>
        <p:spPr>
          <a:xfrm>
            <a:off x="3330295" y="5622843"/>
            <a:ext cx="705223" cy="335813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4 Week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56A22B7-8A0A-40DF-A4BE-995BFBF0DBC0}"/>
              </a:ext>
            </a:extLst>
          </p:cNvPr>
          <p:cNvSpPr txBox="1"/>
          <p:nvPr/>
        </p:nvSpPr>
        <p:spPr>
          <a:xfrm>
            <a:off x="5852126" y="3086352"/>
            <a:ext cx="786895" cy="335651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Week 6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27E031F-0C18-4B0F-B696-6BA5BEA18A33}"/>
              </a:ext>
            </a:extLst>
          </p:cNvPr>
          <p:cNvSpPr txBox="1"/>
          <p:nvPr/>
        </p:nvSpPr>
        <p:spPr>
          <a:xfrm>
            <a:off x="5869051" y="4354509"/>
            <a:ext cx="759243" cy="293136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Week 7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FEF293D-BB9A-4F58-80D4-CD5CBCBDF960}"/>
              </a:ext>
            </a:extLst>
          </p:cNvPr>
          <p:cNvSpPr txBox="1"/>
          <p:nvPr/>
        </p:nvSpPr>
        <p:spPr>
          <a:xfrm>
            <a:off x="5824681" y="5622843"/>
            <a:ext cx="851756" cy="459253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solidFill>
                  <a:schemeClr val="bg1"/>
                </a:solidFill>
                <a:latin typeface="IBM Plex Sans Medium" panose="020B0603050203000203" pitchFamily="34" charset="0"/>
              </a:rPr>
              <a:t>Week 8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1850DC9F-D140-47C5-A31E-59D9EEEA27D1}"/>
              </a:ext>
            </a:extLst>
          </p:cNvPr>
          <p:cNvSpPr txBox="1"/>
          <p:nvPr/>
        </p:nvSpPr>
        <p:spPr>
          <a:xfrm>
            <a:off x="693959" y="1755275"/>
            <a:ext cx="1684046" cy="738664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latin typeface="IBM Plex Sans Light" panose="020B0403050203000203" pitchFamily="34" charset="0"/>
              </a:rPr>
              <a:t>Understand and  gather knowledge</a:t>
            </a:r>
          </a:p>
          <a:p>
            <a:pPr algn="l"/>
            <a:endParaRPr lang="en-IN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535DD0C5-36B8-489F-8861-A583DAF828AC}"/>
              </a:ext>
            </a:extLst>
          </p:cNvPr>
          <p:cNvSpPr txBox="1"/>
          <p:nvPr/>
        </p:nvSpPr>
        <p:spPr>
          <a:xfrm>
            <a:off x="555207" y="3057472"/>
            <a:ext cx="1967301" cy="738664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>
                <a:latin typeface="IBM Plex Sans Light" panose="020B0604020202020204" charset="0"/>
              </a:rPr>
              <a:t>Diverge and explore possibilities</a:t>
            </a:r>
          </a:p>
          <a:p>
            <a:pPr algn="l"/>
            <a:r>
              <a:rPr lang="de-DE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  <a:endParaRPr lang="de-DE" dirty="0">
              <a:solidFill>
                <a:srgbClr val="509AAF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74B8088-7B20-4B96-8933-6E2ECC509FE4}"/>
              </a:ext>
            </a:extLst>
          </p:cNvPr>
          <p:cNvSpPr txBox="1"/>
          <p:nvPr/>
        </p:nvSpPr>
        <p:spPr>
          <a:xfrm>
            <a:off x="598612" y="4383985"/>
            <a:ext cx="1901235" cy="830997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latin typeface="IBM Plex Sans Light" panose="020B0604020202020204" charset="0"/>
              </a:rPr>
              <a:t>Converge and discuss</a:t>
            </a:r>
          </a:p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604020202020204" charset="0"/>
              </a:rPr>
              <a:t> </a:t>
            </a:r>
          </a:p>
          <a:p>
            <a:pPr algn="l"/>
            <a:endParaRPr lang="en-IN" dirty="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6023DF57-E7C1-4BD6-9D11-B8509F6F6692}"/>
              </a:ext>
            </a:extLst>
          </p:cNvPr>
          <p:cNvSpPr txBox="1"/>
          <p:nvPr/>
        </p:nvSpPr>
        <p:spPr>
          <a:xfrm>
            <a:off x="634670" y="5674540"/>
            <a:ext cx="1943420" cy="276999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>
                <a:latin typeface="IBM Plex Sans Light" panose="020B0403050203000203" pitchFamily="34" charset="0"/>
              </a:rPr>
              <a:t>Build a rough prototype</a:t>
            </a:r>
            <a:endParaRPr lang="en-IN" dirty="0">
              <a:latin typeface="IBM Plex Sans Light" panose="020B0403050203000203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2E7AE9FB-7E74-46FC-8F98-531C9A23D4BC}"/>
              </a:ext>
            </a:extLst>
          </p:cNvPr>
          <p:cNvSpPr txBox="1"/>
          <p:nvPr/>
        </p:nvSpPr>
        <p:spPr>
          <a:xfrm>
            <a:off x="7492653" y="1692395"/>
            <a:ext cx="1719388" cy="1015663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dirty="0">
                <a:latin typeface="IBM Plex Sans Light" panose="020B0403050203000203" pitchFamily="34" charset="0"/>
              </a:rPr>
              <a:t>Testing and finding out the success rate</a:t>
            </a:r>
          </a:p>
          <a:p>
            <a:pPr algn="l"/>
            <a:r>
              <a:rPr lang="de-DE" dirty="0">
                <a:solidFill>
                  <a:srgbClr val="509AAF"/>
                </a:solidFill>
                <a:latin typeface="IBM Plex Sans Light" panose="020B0403050203000203" pitchFamily="34" charset="0"/>
              </a:rPr>
              <a:t> </a:t>
            </a:r>
          </a:p>
          <a:p>
            <a:pPr algn="l"/>
            <a:endParaRPr lang="en-IN" dirty="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6E08BDA4-A8F1-4687-BBAE-B2ACBB7E9CDC}"/>
              </a:ext>
            </a:extLst>
          </p:cNvPr>
          <p:cNvSpPr txBox="1"/>
          <p:nvPr/>
        </p:nvSpPr>
        <p:spPr>
          <a:xfrm>
            <a:off x="7551134" y="2968224"/>
            <a:ext cx="1660907" cy="738664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latin typeface="IBM Plex Sans Light" panose="020B0604020202020204" charset="0"/>
              </a:rPr>
              <a:t>Reiterations wherever necessary</a:t>
            </a:r>
          </a:p>
          <a:p>
            <a:pPr algn="l"/>
            <a:endParaRPr lang="en-IN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2C46889F-6F62-4FBC-B687-2B0BC1DF74BE}"/>
              </a:ext>
            </a:extLst>
          </p:cNvPr>
          <p:cNvSpPr txBox="1"/>
          <p:nvPr/>
        </p:nvSpPr>
        <p:spPr>
          <a:xfrm>
            <a:off x="7301596" y="4404433"/>
            <a:ext cx="2036975" cy="461665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dirty="0">
                <a:latin typeface="IBM Plex Sans Light" panose="020B0403050203000203" pitchFamily="34" charset="0"/>
              </a:rPr>
              <a:t>Review and evaluating the versions</a:t>
            </a:r>
            <a:endParaRPr lang="en-IN" dirty="0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AED9E5F-7A47-4799-8F59-EF75AFBE80BB}"/>
              </a:ext>
            </a:extLst>
          </p:cNvPr>
          <p:cNvSpPr txBox="1"/>
          <p:nvPr/>
        </p:nvSpPr>
        <p:spPr>
          <a:xfrm>
            <a:off x="7339809" y="5542551"/>
            <a:ext cx="1697408" cy="738664"/>
          </a:xfrm>
          <a:prstGeom prst="rect">
            <a:avLst/>
          </a:prstGeom>
          <a:noFill/>
        </p:spPr>
        <p:txBody>
          <a:bodyPr wrap="square" tIns="91440" bIns="91440" rtlCol="0">
            <a:noAutofit/>
          </a:bodyPr>
          <a:lstStyle/>
          <a:p>
            <a:pPr algn="l"/>
            <a:r>
              <a:rPr lang="en-IN" sz="1200" dirty="0">
                <a:latin typeface="IBM Plex Sans Light" panose="020B0604020202020204" charset="0"/>
              </a:rPr>
              <a:t>Finalize and agreeing on timelines</a:t>
            </a:r>
          </a:p>
          <a:p>
            <a:pPr algn="l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2546703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90D1255-D23A-43C8-A14C-74C75236B209}"/>
              </a:ext>
            </a:extLst>
          </p:cNvPr>
          <p:cNvSpPr/>
          <p:nvPr/>
        </p:nvSpPr>
        <p:spPr bwMode="auto">
          <a:xfrm>
            <a:off x="5343003" y="1520825"/>
            <a:ext cx="4142232" cy="4764024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7F5BF22-1FF3-4D8E-9DF2-A5E0A2B73B1D}"/>
              </a:ext>
            </a:extLst>
          </p:cNvPr>
          <p:cNvSpPr/>
          <p:nvPr/>
        </p:nvSpPr>
        <p:spPr bwMode="auto">
          <a:xfrm>
            <a:off x="559657" y="1520825"/>
            <a:ext cx="4142232" cy="4764024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A8D091-218A-9B49-B6B6-1482446BD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58368"/>
            <a:ext cx="8680257" cy="460800"/>
          </a:xfrm>
        </p:spPr>
        <p:txBody>
          <a:bodyPr>
            <a:normAutofit fontScale="90000"/>
          </a:bodyPr>
          <a:lstStyle/>
          <a:p>
            <a:r>
              <a:rPr lang="en-IN" b="1" i="0" dirty="0">
                <a:effectLst/>
                <a:latin typeface="+mn-lt"/>
              </a:rPr>
              <a:t>Onsite vs. Remote Work: 7 Key Differences in Leadership Style</a:t>
            </a:r>
            <a:endParaRPr lang="hu-HU" dirty="0">
              <a:latin typeface="+mn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A9BBBC-F954-E54D-9D73-7D2BC3054F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solidFill>
            <a:srgbClr val="F2F2F2"/>
          </a:solidFill>
        </p:spPr>
        <p:txBody>
          <a:bodyPr/>
          <a:lstStyle/>
          <a:p>
            <a:fld id="{914292A2-C371-4A90-A5CC-38E01B82EA6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784578-3F49-324C-9B7E-3C8AB9DD7A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solidFill>
            <a:srgbClr val="F2F2F2"/>
          </a:solidFill>
        </p:spPr>
        <p:txBody>
          <a:bodyPr>
            <a:normAutofit lnSpcReduction="10000"/>
          </a:bodyPr>
          <a:lstStyle/>
          <a:p>
            <a:r>
              <a:rPr lang="en-US" spc="100" dirty="0">
                <a:solidFill>
                  <a:schemeClr val="bg2">
                    <a:lumMod val="50000"/>
                  </a:schemeClr>
                </a:solidFill>
                <a:latin typeface="Poppins Medium" panose="00000600000000000000" pitchFamily="2" charset="0"/>
                <a:cs typeface="Poppins Medium" panose="00000600000000000000" pitchFamily="2" charset="0"/>
              </a:rPr>
              <a:t>Source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30BED82-9E6E-48BC-87C4-E531E9119461}"/>
              </a:ext>
            </a:extLst>
          </p:cNvPr>
          <p:cNvSpPr txBox="1"/>
          <p:nvPr/>
        </p:nvSpPr>
        <p:spPr>
          <a:xfrm>
            <a:off x="4982970" y="2534155"/>
            <a:ext cx="4114800" cy="287783"/>
          </a:xfrm>
          <a:prstGeom prst="rect">
            <a:avLst/>
          </a:prstGeom>
          <a:noFill/>
        </p:spPr>
        <p:txBody>
          <a:bodyPr wrap="square" lIns="182880" tIns="182880" rIns="182880" bIns="182880" rtlCol="0" anchor="t" anchorCtr="0">
            <a:noAutofit/>
          </a:bodyPr>
          <a:lstStyle/>
          <a:p>
            <a:pPr marL="371475" indent="-371475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Keep the employee in mind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D91EF46-32A9-4F8B-919A-456123A9C4EB}"/>
              </a:ext>
            </a:extLst>
          </p:cNvPr>
          <p:cNvSpPr txBox="1"/>
          <p:nvPr/>
        </p:nvSpPr>
        <p:spPr>
          <a:xfrm>
            <a:off x="5076119" y="3300370"/>
            <a:ext cx="4114800" cy="287783"/>
          </a:xfrm>
          <a:prstGeom prst="rect">
            <a:avLst/>
          </a:prstGeom>
          <a:noFill/>
        </p:spPr>
        <p:txBody>
          <a:bodyPr wrap="square" lIns="182880" tIns="182880" rIns="182880" bIns="182880" rtlCol="0" anchor="t" anchorCtr="0">
            <a:noAutofit/>
          </a:bodyPr>
          <a:lstStyle/>
          <a:p>
            <a:pPr marL="371475" indent="-371475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Change your leadership styl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9ACD0B4-5F5E-4723-BAD5-C208311BBDC9}"/>
              </a:ext>
            </a:extLst>
          </p:cNvPr>
          <p:cNvSpPr txBox="1"/>
          <p:nvPr/>
        </p:nvSpPr>
        <p:spPr>
          <a:xfrm>
            <a:off x="5383901" y="4060877"/>
            <a:ext cx="4114800" cy="287783"/>
          </a:xfrm>
          <a:prstGeom prst="rect">
            <a:avLst/>
          </a:prstGeom>
          <a:noFill/>
        </p:spPr>
        <p:txBody>
          <a:bodyPr wrap="square" lIns="182880" tIns="182880" rIns="182880" bIns="182880" rtlCol="0" anchor="t" anchorCtr="0">
            <a:noAutofit/>
          </a:bodyPr>
          <a:lstStyle/>
          <a:p>
            <a:pPr marL="371475" indent="-371475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Build a dynamic virtual environment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BE5A21A-D6C9-4B7B-96B4-D7959C3FE835}"/>
              </a:ext>
            </a:extLst>
          </p:cNvPr>
          <p:cNvSpPr txBox="1"/>
          <p:nvPr/>
        </p:nvSpPr>
        <p:spPr>
          <a:xfrm>
            <a:off x="5191625" y="5581892"/>
            <a:ext cx="4114800" cy="287783"/>
          </a:xfrm>
          <a:prstGeom prst="rect">
            <a:avLst/>
          </a:prstGeom>
          <a:noFill/>
        </p:spPr>
        <p:txBody>
          <a:bodyPr wrap="square" lIns="182880" tIns="182880" rIns="182880" bIns="182880" rtlCol="0" anchor="t" anchorCtr="0">
            <a:noAutofit/>
          </a:bodyPr>
          <a:lstStyle/>
          <a:p>
            <a:pPr marL="371475" indent="-371475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Stay committed and connected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DBF17C2-2A8D-4825-9135-DBD132EF0C39}"/>
              </a:ext>
            </a:extLst>
          </p:cNvPr>
          <p:cNvSpPr txBox="1"/>
          <p:nvPr/>
        </p:nvSpPr>
        <p:spPr>
          <a:xfrm>
            <a:off x="4935085" y="4811027"/>
            <a:ext cx="3429311" cy="393094"/>
          </a:xfrm>
          <a:prstGeom prst="rect">
            <a:avLst/>
          </a:prstGeom>
          <a:noFill/>
        </p:spPr>
        <p:txBody>
          <a:bodyPr wrap="square" lIns="182880" tIns="182880" rIns="182880" bIns="182880" rtlCol="0" anchor="t" anchorCtr="0">
            <a:noAutofit/>
          </a:bodyPr>
          <a:lstStyle/>
          <a:p>
            <a:pPr marL="371475" indent="-371475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rioritize company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B33349D-061A-4071-8329-90496C0957C3}"/>
              </a:ext>
            </a:extLst>
          </p:cNvPr>
          <p:cNvSpPr txBox="1"/>
          <p:nvPr/>
        </p:nvSpPr>
        <p:spPr>
          <a:xfrm>
            <a:off x="-263801" y="2549572"/>
            <a:ext cx="3108960" cy="290700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/>
                </a:solidFill>
                <a:latin typeface="+mn-lt"/>
              </a:rPr>
              <a:t>Clarity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2C488B8-57FF-41F9-806A-E59C58BEE577}"/>
              </a:ext>
            </a:extLst>
          </p:cNvPr>
          <p:cNvSpPr txBox="1"/>
          <p:nvPr/>
        </p:nvSpPr>
        <p:spPr>
          <a:xfrm>
            <a:off x="170521" y="3202278"/>
            <a:ext cx="3108960" cy="290700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/>
                </a:solidFill>
                <a:latin typeface="+mn-lt"/>
              </a:rPr>
              <a:t>Communica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AE29C5D-6E1A-492D-86A9-F53F75BC7B24}"/>
              </a:ext>
            </a:extLst>
          </p:cNvPr>
          <p:cNvSpPr txBox="1"/>
          <p:nvPr/>
        </p:nvSpPr>
        <p:spPr>
          <a:xfrm>
            <a:off x="-44693" y="3812916"/>
            <a:ext cx="3108960" cy="290700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/>
                </a:solidFill>
                <a:latin typeface="+mn-lt"/>
              </a:rPr>
              <a:t>Connectio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3FA190C-7F4C-4DC3-9203-E84EA1143241}"/>
              </a:ext>
            </a:extLst>
          </p:cNvPr>
          <p:cNvSpPr txBox="1"/>
          <p:nvPr/>
        </p:nvSpPr>
        <p:spPr>
          <a:xfrm>
            <a:off x="502878" y="4395596"/>
            <a:ext cx="3108960" cy="290700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/>
                </a:solidFill>
                <a:latin typeface="+mn-lt"/>
              </a:rPr>
              <a:t>Managing expectation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AD92D2C-96B0-416D-833D-3315C17EA328}"/>
              </a:ext>
            </a:extLst>
          </p:cNvPr>
          <p:cNvSpPr txBox="1"/>
          <p:nvPr/>
        </p:nvSpPr>
        <p:spPr>
          <a:xfrm>
            <a:off x="399921" y="4974388"/>
            <a:ext cx="3108960" cy="290700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/>
                </a:solidFill>
                <a:latin typeface="+mn-lt"/>
              </a:rPr>
              <a:t>Trust your employee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FAC49AA-1549-418F-982F-5565F2BA44C3}"/>
              </a:ext>
            </a:extLst>
          </p:cNvPr>
          <p:cNvSpPr txBox="1"/>
          <p:nvPr/>
        </p:nvSpPr>
        <p:spPr>
          <a:xfrm>
            <a:off x="-24196" y="5585221"/>
            <a:ext cx="3108960" cy="290700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400" dirty="0">
                <a:solidFill>
                  <a:schemeClr val="bg1"/>
                </a:solidFill>
                <a:latin typeface="+mn-lt"/>
              </a:rPr>
              <a:t>Goal setting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E6E50CD-1794-426E-B2AF-79E3BDB38517}"/>
              </a:ext>
            </a:extLst>
          </p:cNvPr>
          <p:cNvSpPr txBox="1"/>
          <p:nvPr/>
        </p:nvSpPr>
        <p:spPr>
          <a:xfrm>
            <a:off x="4448147" y="1749528"/>
            <a:ext cx="1017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509AAF"/>
                </a:solidFill>
                <a:latin typeface="+mn-lt"/>
              </a:rPr>
              <a:t>Vs</a:t>
            </a:r>
            <a:endParaRPr lang="en-IN" sz="2400" b="1" dirty="0">
              <a:solidFill>
                <a:srgbClr val="509AAF"/>
              </a:solidFill>
              <a:latin typeface="+mn-lt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52D7271-4762-4B29-BE91-4B6FF64958F7}"/>
              </a:ext>
            </a:extLst>
          </p:cNvPr>
          <p:cNvSpPr/>
          <p:nvPr/>
        </p:nvSpPr>
        <p:spPr bwMode="auto">
          <a:xfrm>
            <a:off x="428219" y="1530130"/>
            <a:ext cx="4262096" cy="704088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509AAF"/>
            </a:solidFill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F33FE539-E838-4212-87ED-67E2DC07C7FD}"/>
              </a:ext>
            </a:extLst>
          </p:cNvPr>
          <p:cNvSpPr/>
          <p:nvPr/>
        </p:nvSpPr>
        <p:spPr bwMode="auto">
          <a:xfrm>
            <a:off x="5216476" y="1530130"/>
            <a:ext cx="4261305" cy="704088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509AAF"/>
            </a:solidFill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C5E6BA3-5A75-4B4F-B241-149118761840}"/>
              </a:ext>
            </a:extLst>
          </p:cNvPr>
          <p:cNvSpPr txBox="1"/>
          <p:nvPr/>
        </p:nvSpPr>
        <p:spPr>
          <a:xfrm>
            <a:off x="6233806" y="1695115"/>
            <a:ext cx="22266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i="0" dirty="0">
                <a:solidFill>
                  <a:srgbClr val="509AAF"/>
                </a:solidFill>
                <a:effectLst/>
                <a:latin typeface="+mn-lt"/>
              </a:rPr>
              <a:t>Remote Work</a:t>
            </a:r>
            <a:endParaRPr lang="en-IN" sz="2000" dirty="0">
              <a:solidFill>
                <a:srgbClr val="509AAF"/>
              </a:solidFill>
              <a:latin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044AB5-FFF6-477E-A887-4461C0D757D0}"/>
              </a:ext>
            </a:extLst>
          </p:cNvPr>
          <p:cNvSpPr txBox="1"/>
          <p:nvPr/>
        </p:nvSpPr>
        <p:spPr>
          <a:xfrm>
            <a:off x="1474398" y="1682119"/>
            <a:ext cx="21697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>
                <a:solidFill>
                  <a:srgbClr val="509AAF"/>
                </a:solidFill>
                <a:latin typeface="+mn-lt"/>
              </a:rPr>
              <a:t>Onsite</a:t>
            </a:r>
          </a:p>
        </p:txBody>
      </p:sp>
    </p:spTree>
    <p:extLst>
      <p:ext uri="{BB962C8B-B14F-4D97-AF65-F5344CB8AC3E}">
        <p14:creationId xmlns:p14="http://schemas.microsoft.com/office/powerpoint/2010/main" val="187324173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96FEFC80-AB08-446F-86C0-19BC26C2134F}"/>
              </a:ext>
            </a:extLst>
          </p:cNvPr>
          <p:cNvSpPr/>
          <p:nvPr/>
        </p:nvSpPr>
        <p:spPr bwMode="auto">
          <a:xfrm>
            <a:off x="929816" y="5445465"/>
            <a:ext cx="8558784" cy="841248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D8259D3C-D310-4304-B59C-11372E646555}"/>
              </a:ext>
            </a:extLst>
          </p:cNvPr>
          <p:cNvSpPr/>
          <p:nvPr/>
        </p:nvSpPr>
        <p:spPr bwMode="auto">
          <a:xfrm>
            <a:off x="929816" y="4465577"/>
            <a:ext cx="8558784" cy="841248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845FF734-54A7-4B92-8405-232C211F1EA4}"/>
              </a:ext>
            </a:extLst>
          </p:cNvPr>
          <p:cNvSpPr/>
          <p:nvPr/>
        </p:nvSpPr>
        <p:spPr bwMode="auto">
          <a:xfrm>
            <a:off x="929816" y="3485689"/>
            <a:ext cx="8558784" cy="841248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5CE3B52D-38F9-41FB-91C2-E4F24951F5C2}"/>
              </a:ext>
            </a:extLst>
          </p:cNvPr>
          <p:cNvSpPr/>
          <p:nvPr/>
        </p:nvSpPr>
        <p:spPr bwMode="auto">
          <a:xfrm>
            <a:off x="929816" y="2505801"/>
            <a:ext cx="8558784" cy="841248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EF61ED0-66A4-424A-B87A-8074808FFF5C}"/>
              </a:ext>
            </a:extLst>
          </p:cNvPr>
          <p:cNvSpPr/>
          <p:nvPr/>
        </p:nvSpPr>
        <p:spPr bwMode="auto">
          <a:xfrm>
            <a:off x="929816" y="1525913"/>
            <a:ext cx="8558784" cy="841248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A8D091-218A-9B49-B6B6-1482446BD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658368"/>
            <a:ext cx="6469200" cy="460800"/>
          </a:xfrm>
        </p:spPr>
        <p:txBody>
          <a:bodyPr/>
          <a:lstStyle/>
          <a:p>
            <a:pPr algn="l" defTabSz="74295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2400" b="1" dirty="0">
                <a:latin typeface="+mj-lt"/>
                <a:cs typeface="Poppins Black" panose="020B0604020202020204" charset="0"/>
              </a:rPr>
              <a:t>Most well known media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8C682F3-8BB9-4FF5-9428-74ABEE8306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6634" y="6496469"/>
            <a:ext cx="3457498" cy="292946"/>
          </a:xfrm>
        </p:spPr>
        <p:txBody>
          <a:bodyPr>
            <a:normAutofit/>
          </a:bodyPr>
          <a:lstStyle/>
          <a:p>
            <a:r>
              <a:rPr lang="en-US" sz="900" dirty="0">
                <a:solidFill>
                  <a:srgbClr val="07AADB"/>
                </a:solidFill>
                <a:latin typeface="+mn-lt"/>
              </a:rPr>
              <a:t>The main sources of the broadcast are television and radio.</a:t>
            </a:r>
          </a:p>
          <a:p>
            <a:endParaRPr lang="en-IN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E17FBEF6-BCA2-4A8B-A6CF-554E5ADCA671}"/>
              </a:ext>
            </a:extLst>
          </p:cNvPr>
          <p:cNvSpPr/>
          <p:nvPr/>
        </p:nvSpPr>
        <p:spPr>
          <a:xfrm flipH="1">
            <a:off x="417513" y="1523258"/>
            <a:ext cx="2869220" cy="843904"/>
          </a:xfrm>
          <a:prstGeom prst="roundRect">
            <a:avLst>
              <a:gd name="adj" fmla="val 50000"/>
            </a:avLst>
          </a:prstGeom>
          <a:solidFill>
            <a:srgbClr val="509A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25" tIns="37148" rIns="643500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975" b="1" dirty="0">
              <a:solidFill>
                <a:schemeClr val="bg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17C35828-DD46-40EF-B653-7B7B583DF143}"/>
              </a:ext>
            </a:extLst>
          </p:cNvPr>
          <p:cNvSpPr/>
          <p:nvPr/>
        </p:nvSpPr>
        <p:spPr>
          <a:xfrm flipH="1">
            <a:off x="423933" y="2503860"/>
            <a:ext cx="3722209" cy="843904"/>
          </a:xfrm>
          <a:prstGeom prst="roundRect">
            <a:avLst>
              <a:gd name="adj" fmla="val 50000"/>
            </a:avLst>
          </a:prstGeom>
          <a:solidFill>
            <a:srgbClr val="509A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25" tIns="37148" rIns="643500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975" b="1" dirty="0">
              <a:solidFill>
                <a:schemeClr val="bg1"/>
              </a:solidFill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A458F24E-2B4F-4C04-834B-81DD5D248AB2}"/>
              </a:ext>
            </a:extLst>
          </p:cNvPr>
          <p:cNvSpPr/>
          <p:nvPr/>
        </p:nvSpPr>
        <p:spPr>
          <a:xfrm flipH="1">
            <a:off x="423933" y="3484460"/>
            <a:ext cx="4581619" cy="843904"/>
          </a:xfrm>
          <a:prstGeom prst="roundRect">
            <a:avLst>
              <a:gd name="adj" fmla="val 50000"/>
            </a:avLst>
          </a:prstGeom>
          <a:solidFill>
            <a:srgbClr val="509A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25" tIns="37148" rIns="643500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975" b="1" dirty="0">
              <a:solidFill>
                <a:schemeClr val="bg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13966CC1-4186-44B9-A8AC-5648663775CA}"/>
              </a:ext>
            </a:extLst>
          </p:cNvPr>
          <p:cNvSpPr/>
          <p:nvPr/>
        </p:nvSpPr>
        <p:spPr>
          <a:xfrm flipH="1">
            <a:off x="423933" y="4465062"/>
            <a:ext cx="5441030" cy="843904"/>
          </a:xfrm>
          <a:prstGeom prst="roundRect">
            <a:avLst>
              <a:gd name="adj" fmla="val 50000"/>
            </a:avLst>
          </a:prstGeom>
          <a:solidFill>
            <a:srgbClr val="509A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25" tIns="37148" rIns="643500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975" b="1" dirty="0">
              <a:solidFill>
                <a:schemeClr val="bg1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F914634-6EDF-4805-BB27-8BEBBDA0A115}"/>
              </a:ext>
            </a:extLst>
          </p:cNvPr>
          <p:cNvSpPr/>
          <p:nvPr/>
        </p:nvSpPr>
        <p:spPr>
          <a:xfrm flipH="1">
            <a:off x="423933" y="5445661"/>
            <a:ext cx="6300442" cy="843904"/>
          </a:xfrm>
          <a:prstGeom prst="roundRect">
            <a:avLst>
              <a:gd name="adj" fmla="val 50000"/>
            </a:avLst>
          </a:prstGeom>
          <a:solidFill>
            <a:srgbClr val="509A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25" tIns="37148" rIns="643500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975" b="1" dirty="0">
              <a:solidFill>
                <a:schemeClr val="bg1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55CEA97-CCDA-4E36-A7EC-4EAEB28B048A}"/>
              </a:ext>
            </a:extLst>
          </p:cNvPr>
          <p:cNvSpPr txBox="1"/>
          <p:nvPr/>
        </p:nvSpPr>
        <p:spPr>
          <a:xfrm>
            <a:off x="1101017" y="1688391"/>
            <a:ext cx="1436906" cy="513638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Broadcasting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4D51EF6-30CA-4B55-8103-4EDECF9C9723}"/>
              </a:ext>
            </a:extLst>
          </p:cNvPr>
          <p:cNvSpPr txBox="1"/>
          <p:nvPr/>
        </p:nvSpPr>
        <p:spPr>
          <a:xfrm>
            <a:off x="1599237" y="2668993"/>
            <a:ext cx="1371600" cy="513638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Print Media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9C7427B-5563-442C-8AFF-5F2034DC8AA4}"/>
              </a:ext>
            </a:extLst>
          </p:cNvPr>
          <p:cNvSpPr txBox="1"/>
          <p:nvPr/>
        </p:nvSpPr>
        <p:spPr>
          <a:xfrm>
            <a:off x="2028942" y="3649593"/>
            <a:ext cx="1371600" cy="513638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Movie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EF809AB-39CD-480F-9713-94FB6B4193E7}"/>
              </a:ext>
            </a:extLst>
          </p:cNvPr>
          <p:cNvSpPr txBox="1"/>
          <p:nvPr/>
        </p:nvSpPr>
        <p:spPr>
          <a:xfrm>
            <a:off x="2888354" y="5610795"/>
            <a:ext cx="1371600" cy="513638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Game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EE37A5B-46E4-41C3-819E-9BBED026994E}"/>
              </a:ext>
            </a:extLst>
          </p:cNvPr>
          <p:cNvSpPr txBox="1"/>
          <p:nvPr/>
        </p:nvSpPr>
        <p:spPr>
          <a:xfrm>
            <a:off x="2458648" y="4630195"/>
            <a:ext cx="1371600" cy="513638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Medium" panose="020B0604020202020204" charset="0"/>
                <a:cs typeface="IBM Plex Sans Medium" panose="020B0604020202020204" charset="0"/>
              </a:rPr>
              <a:t>Internet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7F0595F-8CDB-4A1D-A873-D6826CD1CDD4}"/>
              </a:ext>
            </a:extLst>
          </p:cNvPr>
          <p:cNvSpPr txBox="1"/>
          <p:nvPr/>
        </p:nvSpPr>
        <p:spPr>
          <a:xfrm>
            <a:off x="6473434" y="1572425"/>
            <a:ext cx="3016810" cy="684851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dirty="0">
                <a:solidFill>
                  <a:srgbClr val="509AAF"/>
                </a:solidFill>
                <a:latin typeface="IBM Plex Sans Light" panose="020B0604020202020204" charset="0"/>
              </a:rPr>
              <a:t>The main sources of the broadcast are television and radio.</a:t>
            </a:r>
            <a:endParaRPr lang="en-IN" dirty="0">
              <a:solidFill>
                <a:srgbClr val="509AAF"/>
              </a:solidFill>
              <a:latin typeface="IBM Plex Sans Light" panose="020B060402020202020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47B396A-FA2B-4E2A-BA72-26BA927BDD87}"/>
              </a:ext>
            </a:extLst>
          </p:cNvPr>
          <p:cNvSpPr txBox="1"/>
          <p:nvPr/>
        </p:nvSpPr>
        <p:spPr>
          <a:xfrm>
            <a:off x="6473434" y="2594579"/>
            <a:ext cx="3017519" cy="684851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dirty="0">
                <a:solidFill>
                  <a:srgbClr val="509AAF"/>
                </a:solidFill>
                <a:latin typeface="IBM Plex Sans Light" panose="020B0604020202020204" charset="0"/>
              </a:rPr>
              <a:t>It includes Newspapers, Magazines, and books, etc.</a:t>
            </a:r>
            <a:endParaRPr lang="en-IN" dirty="0">
              <a:solidFill>
                <a:srgbClr val="509AAF"/>
              </a:solidFill>
              <a:latin typeface="IBM Plex Sans Light" panose="020B060402020202020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C1355F7-BBA0-4F18-AD02-641D469C42C1}"/>
              </a:ext>
            </a:extLst>
          </p:cNvPr>
          <p:cNvSpPr txBox="1"/>
          <p:nvPr/>
        </p:nvSpPr>
        <p:spPr>
          <a:xfrm>
            <a:off x="6464547" y="3501360"/>
            <a:ext cx="3017520" cy="684851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dirty="0">
                <a:solidFill>
                  <a:srgbClr val="509AAF"/>
                </a:solidFill>
                <a:latin typeface="IBM Plex Sans Light" panose="020B0604020202020204" charset="0"/>
              </a:rPr>
              <a:t>It is one of the oldest platforms of media and people went to the theaters to watch.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6E57FE4-942B-47D9-A717-30B111316B21}"/>
              </a:ext>
            </a:extLst>
          </p:cNvPr>
          <p:cNvSpPr txBox="1"/>
          <p:nvPr/>
        </p:nvSpPr>
        <p:spPr>
          <a:xfrm>
            <a:off x="6473435" y="4629039"/>
            <a:ext cx="3017520" cy="684851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dirty="0">
                <a:solidFill>
                  <a:srgbClr val="509AAF"/>
                </a:solidFill>
                <a:latin typeface="IBM Plex Sans Light" panose="020B0604020202020204" charset="0"/>
              </a:rPr>
              <a:t>The Internet is one of the newest sources of media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9E5F407-C9C1-410F-B7E1-D1C04B5CAC0E}"/>
              </a:ext>
            </a:extLst>
          </p:cNvPr>
          <p:cNvSpPr txBox="1"/>
          <p:nvPr/>
        </p:nvSpPr>
        <p:spPr>
          <a:xfrm>
            <a:off x="6565985" y="5646270"/>
            <a:ext cx="2924970" cy="684851"/>
          </a:xfrm>
          <a:prstGeom prst="rect">
            <a:avLst/>
          </a:prstGeom>
          <a:noFill/>
        </p:spPr>
        <p:txBody>
          <a:bodyPr wrap="square" lIns="91440" tIns="91440" rIns="91440" bIns="91440" rtlCol="0">
            <a:noAutofit/>
          </a:bodyPr>
          <a:lstStyle/>
          <a:p>
            <a:r>
              <a:rPr lang="en-US" dirty="0">
                <a:solidFill>
                  <a:srgbClr val="509AAF"/>
                </a:solidFill>
                <a:latin typeface="IBM Plex Sans Light" panose="020B0604020202020204" charset="0"/>
              </a:rPr>
              <a:t>It is only grown in youth with high dimensions and more graphics</a:t>
            </a:r>
            <a:r>
              <a:rPr lang="en-US" dirty="0">
                <a:solidFill>
                  <a:schemeClr val="tx1"/>
                </a:solidFill>
                <a:latin typeface="IBM Plex Sans Light" panose="020B0604020202020204" charset="0"/>
              </a:rPr>
              <a:t>.</a:t>
            </a:r>
            <a:endParaRPr lang="en-IN" dirty="0">
              <a:latin typeface="IBM Plex Sans Light" panose="020B060402020202020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7877B6-206F-4067-90C1-C7F72CA7B631}"/>
              </a:ext>
            </a:extLst>
          </p:cNvPr>
          <p:cNvSpPr/>
          <p:nvPr/>
        </p:nvSpPr>
        <p:spPr>
          <a:xfrm flipH="1">
            <a:off x="2441333" y="1594923"/>
            <a:ext cx="731520" cy="684851"/>
          </a:xfrm>
          <a:prstGeom prst="ellipse">
            <a:avLst/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975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421B6F2-1CCC-4E9A-917D-007B07CAAB3A}"/>
              </a:ext>
            </a:extLst>
          </p:cNvPr>
          <p:cNvSpPr/>
          <p:nvPr/>
        </p:nvSpPr>
        <p:spPr>
          <a:xfrm>
            <a:off x="2603893" y="1747112"/>
            <a:ext cx="406400" cy="380473"/>
          </a:xfrm>
          <a:custGeom>
            <a:avLst/>
            <a:gdLst>
              <a:gd name="connsiteX0" fmla="*/ 651960 w 2279787"/>
              <a:gd name="connsiteY0" fmla="*/ 1973397 h 1980857"/>
              <a:gd name="connsiteX1" fmla="*/ 639274 w 2279787"/>
              <a:gd name="connsiteY1" fmla="*/ 1952392 h 1980857"/>
              <a:gd name="connsiteX2" fmla="*/ 690428 w 2279787"/>
              <a:gd name="connsiteY2" fmla="*/ 1923342 h 1980857"/>
              <a:gd name="connsiteX3" fmla="*/ 718709 w 2279787"/>
              <a:gd name="connsiteY3" fmla="*/ 1914610 h 1980857"/>
              <a:gd name="connsiteX4" fmla="*/ 733399 w 2279787"/>
              <a:gd name="connsiteY4" fmla="*/ 1859420 h 1980857"/>
              <a:gd name="connsiteX5" fmla="*/ 764591 w 2279787"/>
              <a:gd name="connsiteY5" fmla="*/ 1783884 h 1980857"/>
              <a:gd name="connsiteX6" fmla="*/ 808496 w 2279787"/>
              <a:gd name="connsiteY6" fmla="*/ 1788278 h 1980857"/>
              <a:gd name="connsiteX7" fmla="*/ 815909 w 2279787"/>
              <a:gd name="connsiteY7" fmla="*/ 1818289 h 1980857"/>
              <a:gd name="connsiteX8" fmla="*/ 801439 w 2279787"/>
              <a:gd name="connsiteY8" fmla="*/ 1881689 h 1980857"/>
              <a:gd name="connsiteX9" fmla="*/ 789852 w 2279787"/>
              <a:gd name="connsiteY9" fmla="*/ 1923342 h 1980857"/>
              <a:gd name="connsiteX10" fmla="*/ 827771 w 2279787"/>
              <a:gd name="connsiteY10" fmla="*/ 1923342 h 1980857"/>
              <a:gd name="connsiteX11" fmla="*/ 865718 w 2279787"/>
              <a:gd name="connsiteY11" fmla="*/ 1920432 h 1980857"/>
              <a:gd name="connsiteX12" fmla="*/ 1111052 w 2279787"/>
              <a:gd name="connsiteY12" fmla="*/ 1013725 h 1980857"/>
              <a:gd name="connsiteX13" fmla="*/ 1171321 w 2279787"/>
              <a:gd name="connsiteY13" fmla="*/ 1018201 h 1980857"/>
              <a:gd name="connsiteX14" fmla="*/ 1296720 w 2279787"/>
              <a:gd name="connsiteY14" fmla="*/ 1476029 h 1980857"/>
              <a:gd name="connsiteX15" fmla="*/ 1417149 w 2279787"/>
              <a:gd name="connsiteY15" fmla="*/ 1922546 h 1980857"/>
              <a:gd name="connsiteX16" fmla="*/ 1454355 w 2279787"/>
              <a:gd name="connsiteY16" fmla="*/ 1922546 h 1980857"/>
              <a:gd name="connsiteX17" fmla="*/ 1490214 w 2279787"/>
              <a:gd name="connsiteY17" fmla="*/ 1921392 h 1980857"/>
              <a:gd name="connsiteX18" fmla="*/ 1407045 w 2279787"/>
              <a:gd name="connsiteY18" fmla="*/ 1611560 h 1980857"/>
              <a:gd name="connsiteX19" fmla="*/ 1323629 w 2279787"/>
              <a:gd name="connsiteY19" fmla="*/ 1289152 h 1980857"/>
              <a:gd name="connsiteX20" fmla="*/ 1332992 w 2279787"/>
              <a:gd name="connsiteY20" fmla="*/ 1268834 h 1980857"/>
              <a:gd name="connsiteX21" fmla="*/ 1382800 w 2279787"/>
              <a:gd name="connsiteY21" fmla="*/ 1268148 h 1980857"/>
              <a:gd name="connsiteX22" fmla="*/ 1475058 w 2279787"/>
              <a:gd name="connsiteY22" fmla="*/ 1590555 h 1980857"/>
              <a:gd name="connsiteX23" fmla="*/ 1561879 w 2279787"/>
              <a:gd name="connsiteY23" fmla="*/ 1914610 h 1980857"/>
              <a:gd name="connsiteX24" fmla="*/ 1598260 w 2279787"/>
              <a:gd name="connsiteY24" fmla="*/ 1923342 h 1980857"/>
              <a:gd name="connsiteX25" fmla="*/ 1643950 w 2279787"/>
              <a:gd name="connsiteY25" fmla="*/ 1932842 h 1980857"/>
              <a:gd name="connsiteX26" fmla="*/ 1655756 w 2279787"/>
              <a:gd name="connsiteY26" fmla="*/ 1952392 h 1980857"/>
              <a:gd name="connsiteX27" fmla="*/ 1643950 w 2279787"/>
              <a:gd name="connsiteY27" fmla="*/ 1971915 h 1980857"/>
              <a:gd name="connsiteX28" fmla="*/ 1632115 w 2279787"/>
              <a:gd name="connsiteY28" fmla="*/ 1981414 h 1980857"/>
              <a:gd name="connsiteX29" fmla="*/ 1148394 w 2279787"/>
              <a:gd name="connsiteY29" fmla="*/ 1981414 h 1980857"/>
              <a:gd name="connsiteX30" fmla="*/ 651960 w 2279787"/>
              <a:gd name="connsiteY30" fmla="*/ 1973397 h 1980857"/>
              <a:gd name="connsiteX31" fmla="*/ 1340295 w 2279787"/>
              <a:gd name="connsiteY31" fmla="*/ 1914610 h 1980857"/>
              <a:gd name="connsiteX32" fmla="*/ 1313607 w 2279787"/>
              <a:gd name="connsiteY32" fmla="*/ 1815131 h 1980857"/>
              <a:gd name="connsiteX33" fmla="*/ 1287769 w 2279787"/>
              <a:gd name="connsiteY33" fmla="*/ 1723038 h 1980857"/>
              <a:gd name="connsiteX34" fmla="*/ 1117312 w 2279787"/>
              <a:gd name="connsiteY34" fmla="*/ 1799782 h 1980857"/>
              <a:gd name="connsiteX35" fmla="*/ 948502 w 2279787"/>
              <a:gd name="connsiteY35" fmla="*/ 1877844 h 1980857"/>
              <a:gd name="connsiteX36" fmla="*/ 945262 w 2279787"/>
              <a:gd name="connsiteY36" fmla="*/ 1895280 h 1980857"/>
              <a:gd name="connsiteX37" fmla="*/ 939469 w 2279787"/>
              <a:gd name="connsiteY37" fmla="*/ 1918015 h 1980857"/>
              <a:gd name="connsiteX38" fmla="*/ 1139882 w 2279787"/>
              <a:gd name="connsiteY38" fmla="*/ 1923342 h 1980857"/>
              <a:gd name="connsiteX39" fmla="*/ 1342821 w 2279787"/>
              <a:gd name="connsiteY39" fmla="*/ 1923342 h 1980857"/>
              <a:gd name="connsiteX40" fmla="*/ 1141694 w 2279787"/>
              <a:gd name="connsiteY40" fmla="*/ 1722104 h 1980857"/>
              <a:gd name="connsiteX41" fmla="*/ 1246143 w 2279787"/>
              <a:gd name="connsiteY41" fmla="*/ 1671748 h 1980857"/>
              <a:gd name="connsiteX42" fmla="*/ 1040705 w 2279787"/>
              <a:gd name="connsiteY42" fmla="*/ 1545113 h 1980857"/>
              <a:gd name="connsiteX43" fmla="*/ 971676 w 2279787"/>
              <a:gd name="connsiteY43" fmla="*/ 1797970 h 1980857"/>
              <a:gd name="connsiteX44" fmla="*/ 1141694 w 2279787"/>
              <a:gd name="connsiteY44" fmla="*/ 1722104 h 1980857"/>
              <a:gd name="connsiteX45" fmla="*/ 1230602 w 2279787"/>
              <a:gd name="connsiteY45" fmla="*/ 1503789 h 1980857"/>
              <a:gd name="connsiteX46" fmla="*/ 1201662 w 2279787"/>
              <a:gd name="connsiteY46" fmla="*/ 1408264 h 1980857"/>
              <a:gd name="connsiteX47" fmla="*/ 1080079 w 2279787"/>
              <a:gd name="connsiteY47" fmla="*/ 1490170 h 1980857"/>
              <a:gd name="connsiteX48" fmla="*/ 1254518 w 2279787"/>
              <a:gd name="connsiteY48" fmla="*/ 1600412 h 1980857"/>
              <a:gd name="connsiteX49" fmla="*/ 1230602 w 2279787"/>
              <a:gd name="connsiteY49" fmla="*/ 1503789 h 1980857"/>
              <a:gd name="connsiteX50" fmla="*/ 1134363 w 2279787"/>
              <a:gd name="connsiteY50" fmla="*/ 1375754 h 1980857"/>
              <a:gd name="connsiteX51" fmla="*/ 1186944 w 2279787"/>
              <a:gd name="connsiteY51" fmla="*/ 1341322 h 1980857"/>
              <a:gd name="connsiteX52" fmla="*/ 1175824 w 2279787"/>
              <a:gd name="connsiteY52" fmla="*/ 1300246 h 1980857"/>
              <a:gd name="connsiteX53" fmla="*/ 1153940 w 2279787"/>
              <a:gd name="connsiteY53" fmla="*/ 1217516 h 1980857"/>
              <a:gd name="connsiteX54" fmla="*/ 1140541 w 2279787"/>
              <a:gd name="connsiteY54" fmla="*/ 1175863 h 1980857"/>
              <a:gd name="connsiteX55" fmla="*/ 1106192 w 2279787"/>
              <a:gd name="connsiteY55" fmla="*/ 1294095 h 1980857"/>
              <a:gd name="connsiteX56" fmla="*/ 1078157 w 2279787"/>
              <a:gd name="connsiteY56" fmla="*/ 1411257 h 1980857"/>
              <a:gd name="connsiteX57" fmla="*/ 1134363 w 2279787"/>
              <a:gd name="connsiteY57" fmla="*/ 1375754 h 1980857"/>
              <a:gd name="connsiteX58" fmla="*/ 792516 w 2279787"/>
              <a:gd name="connsiteY58" fmla="*/ 1707415 h 1980857"/>
              <a:gd name="connsiteX59" fmla="*/ 781807 w 2279787"/>
              <a:gd name="connsiteY59" fmla="*/ 1695773 h 1980857"/>
              <a:gd name="connsiteX60" fmla="*/ 997432 w 2279787"/>
              <a:gd name="connsiteY60" fmla="*/ 893405 h 1980857"/>
              <a:gd name="connsiteX61" fmla="*/ 1029173 w 2279787"/>
              <a:gd name="connsiteY61" fmla="*/ 867266 h 1980857"/>
              <a:gd name="connsiteX62" fmla="*/ 1140294 w 2279787"/>
              <a:gd name="connsiteY62" fmla="*/ 858287 h 1980857"/>
              <a:gd name="connsiteX63" fmla="*/ 1251415 w 2279787"/>
              <a:gd name="connsiteY63" fmla="*/ 867266 h 1980857"/>
              <a:gd name="connsiteX64" fmla="*/ 1283129 w 2279787"/>
              <a:gd name="connsiteY64" fmla="*/ 893405 h 1980857"/>
              <a:gd name="connsiteX65" fmla="*/ 1328571 w 2279787"/>
              <a:gd name="connsiteY65" fmla="*/ 1041485 h 1980857"/>
              <a:gd name="connsiteX66" fmla="*/ 1363415 w 2279787"/>
              <a:gd name="connsiteY66" fmla="*/ 1172375 h 1980857"/>
              <a:gd name="connsiteX67" fmla="*/ 1353750 w 2279787"/>
              <a:gd name="connsiteY67" fmla="*/ 1182837 h 1980857"/>
              <a:gd name="connsiteX68" fmla="*/ 1327555 w 2279787"/>
              <a:gd name="connsiteY68" fmla="*/ 1194451 h 1980857"/>
              <a:gd name="connsiteX69" fmla="*/ 1258554 w 2279787"/>
              <a:gd name="connsiteY69" fmla="*/ 1055818 h 1980857"/>
              <a:gd name="connsiteX70" fmla="*/ 1223683 w 2279787"/>
              <a:gd name="connsiteY70" fmla="*/ 925092 h 1980857"/>
              <a:gd name="connsiteX71" fmla="*/ 1139772 w 2279787"/>
              <a:gd name="connsiteY71" fmla="*/ 916387 h 1980857"/>
              <a:gd name="connsiteX72" fmla="*/ 1058388 w 2279787"/>
              <a:gd name="connsiteY72" fmla="*/ 918200 h 1980857"/>
              <a:gd name="connsiteX73" fmla="*/ 850890 w 2279787"/>
              <a:gd name="connsiteY73" fmla="*/ 1691874 h 1980857"/>
              <a:gd name="connsiteX74" fmla="*/ 836942 w 2279787"/>
              <a:gd name="connsiteY74" fmla="*/ 1710270 h 1980857"/>
              <a:gd name="connsiteX75" fmla="*/ 792516 w 2279787"/>
              <a:gd name="connsiteY75" fmla="*/ 1707415 h 1980857"/>
              <a:gd name="connsiteX76" fmla="*/ 391167 w 2279787"/>
              <a:gd name="connsiteY76" fmla="*/ 1610132 h 1980857"/>
              <a:gd name="connsiteX77" fmla="*/ 238338 w 2279787"/>
              <a:gd name="connsiteY77" fmla="*/ 1481576 h 1980857"/>
              <a:gd name="connsiteX78" fmla="*/ 12013 w 2279787"/>
              <a:gd name="connsiteY78" fmla="*/ 1063561 h 1980857"/>
              <a:gd name="connsiteX79" fmla="*/ 9725 w 2279787"/>
              <a:gd name="connsiteY79" fmla="*/ 780967 h 1980857"/>
              <a:gd name="connsiteX80" fmla="*/ 632053 w 2279787"/>
              <a:gd name="connsiteY80" fmla="*/ 95239 h 1980857"/>
              <a:gd name="connsiteX81" fmla="*/ 978898 w 2279787"/>
              <a:gd name="connsiteY81" fmla="*/ 7786 h 1980857"/>
              <a:gd name="connsiteX82" fmla="*/ 1299549 w 2279787"/>
              <a:gd name="connsiteY82" fmla="*/ 7457 h 1980857"/>
              <a:gd name="connsiteX83" fmla="*/ 1946698 w 2279787"/>
              <a:gd name="connsiteY83" fmla="*/ 267426 h 1980857"/>
              <a:gd name="connsiteX84" fmla="*/ 2270835 w 2279787"/>
              <a:gd name="connsiteY84" fmla="*/ 780967 h 1980857"/>
              <a:gd name="connsiteX85" fmla="*/ 2270753 w 2279787"/>
              <a:gd name="connsiteY85" fmla="*/ 1053868 h 1980857"/>
              <a:gd name="connsiteX86" fmla="*/ 2052739 w 2279787"/>
              <a:gd name="connsiteY86" fmla="*/ 1470209 h 1980857"/>
              <a:gd name="connsiteX87" fmla="*/ 1875747 w 2279787"/>
              <a:gd name="connsiteY87" fmla="*/ 1615761 h 1980857"/>
              <a:gd name="connsiteX88" fmla="*/ 1834973 w 2279787"/>
              <a:gd name="connsiteY88" fmla="*/ 1589375 h 1980857"/>
              <a:gd name="connsiteX89" fmla="*/ 1882474 w 2279787"/>
              <a:gd name="connsiteY89" fmla="*/ 1537479 h 1980857"/>
              <a:gd name="connsiteX90" fmla="*/ 2101504 w 2279787"/>
              <a:gd name="connsiteY90" fmla="*/ 1293985 h 1980857"/>
              <a:gd name="connsiteX91" fmla="*/ 2156144 w 2279787"/>
              <a:gd name="connsiteY91" fmla="*/ 647220 h 1980857"/>
              <a:gd name="connsiteX92" fmla="*/ 1405919 w 2279787"/>
              <a:gd name="connsiteY92" fmla="*/ 83542 h 1980857"/>
              <a:gd name="connsiteX93" fmla="*/ 1178844 w 2279787"/>
              <a:gd name="connsiteY93" fmla="*/ 57924 h 1980857"/>
              <a:gd name="connsiteX94" fmla="*/ 124251 w 2279787"/>
              <a:gd name="connsiteY94" fmla="*/ 647742 h 1980857"/>
              <a:gd name="connsiteX95" fmla="*/ 70901 w 2279787"/>
              <a:gd name="connsiteY95" fmla="*/ 918337 h 1980857"/>
              <a:gd name="connsiteX96" fmla="*/ 179112 w 2279787"/>
              <a:gd name="connsiteY96" fmla="*/ 1293985 h 1980857"/>
              <a:gd name="connsiteX97" fmla="*/ 397867 w 2279787"/>
              <a:gd name="connsiteY97" fmla="*/ 1537287 h 1980857"/>
              <a:gd name="connsiteX98" fmla="*/ 446577 w 2279787"/>
              <a:gd name="connsiteY98" fmla="*/ 1588304 h 1980857"/>
              <a:gd name="connsiteX99" fmla="*/ 433891 w 2279787"/>
              <a:gd name="connsiteY99" fmla="*/ 1609364 h 1980857"/>
              <a:gd name="connsiteX100" fmla="*/ 391194 w 2279787"/>
              <a:gd name="connsiteY100" fmla="*/ 1610132 h 1980857"/>
              <a:gd name="connsiteX101" fmla="*/ 628758 w 2279787"/>
              <a:gd name="connsiteY101" fmla="*/ 1439593 h 1980857"/>
              <a:gd name="connsiteX102" fmla="*/ 399652 w 2279787"/>
              <a:gd name="connsiteY102" fmla="*/ 1212656 h 1980857"/>
              <a:gd name="connsiteX103" fmla="*/ 314917 w 2279787"/>
              <a:gd name="connsiteY103" fmla="*/ 914466 h 1980857"/>
              <a:gd name="connsiteX104" fmla="*/ 355335 w 2279787"/>
              <a:gd name="connsiteY104" fmla="*/ 709467 h 1980857"/>
              <a:gd name="connsiteX105" fmla="*/ 771757 w 2279787"/>
              <a:gd name="connsiteY105" fmla="*/ 323824 h 1980857"/>
              <a:gd name="connsiteX106" fmla="*/ 978129 w 2279787"/>
              <a:gd name="connsiteY106" fmla="*/ 264900 h 1980857"/>
              <a:gd name="connsiteX107" fmla="*/ 1140294 w 2279787"/>
              <a:gd name="connsiteY107" fmla="*/ 256306 h 1980857"/>
              <a:gd name="connsiteX108" fmla="*/ 1304079 w 2279787"/>
              <a:gd name="connsiteY108" fmla="*/ 265120 h 1980857"/>
              <a:gd name="connsiteX109" fmla="*/ 1671517 w 2279787"/>
              <a:gd name="connsiteY109" fmla="*/ 408147 h 1980857"/>
              <a:gd name="connsiteX110" fmla="*/ 1706553 w 2279787"/>
              <a:gd name="connsiteY110" fmla="*/ 473111 h 1980857"/>
              <a:gd name="connsiteX111" fmla="*/ 1633378 w 2279787"/>
              <a:gd name="connsiteY111" fmla="*/ 457186 h 1980857"/>
              <a:gd name="connsiteX112" fmla="*/ 1329615 w 2279787"/>
              <a:gd name="connsiteY112" fmla="*/ 330167 h 1980857"/>
              <a:gd name="connsiteX113" fmla="*/ 1192106 w 2279787"/>
              <a:gd name="connsiteY113" fmla="*/ 312319 h 1980857"/>
              <a:gd name="connsiteX114" fmla="*/ 404100 w 2279787"/>
              <a:gd name="connsiteY114" fmla="*/ 782779 h 1980857"/>
              <a:gd name="connsiteX115" fmla="*/ 517417 w 2279787"/>
              <a:gd name="connsiteY115" fmla="*/ 1260212 h 1980857"/>
              <a:gd name="connsiteX116" fmla="*/ 671784 w 2279787"/>
              <a:gd name="connsiteY116" fmla="*/ 1393519 h 1980857"/>
              <a:gd name="connsiteX117" fmla="*/ 711543 w 2279787"/>
              <a:gd name="connsiteY117" fmla="*/ 1433332 h 1980857"/>
              <a:gd name="connsiteX118" fmla="*/ 675079 w 2279787"/>
              <a:gd name="connsiteY118" fmla="*/ 1462465 h 1980857"/>
              <a:gd name="connsiteX119" fmla="*/ 628758 w 2279787"/>
              <a:gd name="connsiteY119" fmla="*/ 1439593 h 1980857"/>
              <a:gd name="connsiteX120" fmla="*/ 1581731 w 2279787"/>
              <a:gd name="connsiteY120" fmla="*/ 1454448 h 1980857"/>
              <a:gd name="connsiteX121" fmla="*/ 1569045 w 2279787"/>
              <a:gd name="connsiteY121" fmla="*/ 1433332 h 1980857"/>
              <a:gd name="connsiteX122" fmla="*/ 1608831 w 2279787"/>
              <a:gd name="connsiteY122" fmla="*/ 1393546 h 1980857"/>
              <a:gd name="connsiteX123" fmla="*/ 1857707 w 2279787"/>
              <a:gd name="connsiteY123" fmla="*/ 1103566 h 1980857"/>
              <a:gd name="connsiteX124" fmla="*/ 1893622 w 2279787"/>
              <a:gd name="connsiteY124" fmla="*/ 916387 h 1980857"/>
              <a:gd name="connsiteX125" fmla="*/ 1885000 w 2279787"/>
              <a:gd name="connsiteY125" fmla="*/ 813751 h 1980857"/>
              <a:gd name="connsiteX126" fmla="*/ 1770749 w 2279787"/>
              <a:gd name="connsiteY126" fmla="*/ 582942 h 1980857"/>
              <a:gd name="connsiteX127" fmla="*/ 1747300 w 2279787"/>
              <a:gd name="connsiteY127" fmla="*/ 546039 h 1980857"/>
              <a:gd name="connsiteX128" fmla="*/ 1802517 w 2279787"/>
              <a:gd name="connsiteY128" fmla="*/ 522837 h 1980857"/>
              <a:gd name="connsiteX129" fmla="*/ 1889558 w 2279787"/>
              <a:gd name="connsiteY129" fmla="*/ 635606 h 1980857"/>
              <a:gd name="connsiteX130" fmla="*/ 1652132 w 2279787"/>
              <a:gd name="connsiteY130" fmla="*/ 1439758 h 1980857"/>
              <a:gd name="connsiteX131" fmla="*/ 1581731 w 2279787"/>
              <a:gd name="connsiteY131" fmla="*/ 1454448 h 1980857"/>
              <a:gd name="connsiteX132" fmla="*/ 802208 w 2279787"/>
              <a:gd name="connsiteY132" fmla="*/ 1144725 h 1980857"/>
              <a:gd name="connsiteX133" fmla="*/ 735761 w 2279787"/>
              <a:gd name="connsiteY133" fmla="*/ 1062490 h 1980857"/>
              <a:gd name="connsiteX134" fmla="*/ 700230 w 2279787"/>
              <a:gd name="connsiteY134" fmla="*/ 916387 h 1980857"/>
              <a:gd name="connsiteX135" fmla="*/ 740291 w 2279787"/>
              <a:gd name="connsiteY135" fmla="*/ 766277 h 1980857"/>
              <a:gd name="connsiteX136" fmla="*/ 816184 w 2279787"/>
              <a:gd name="connsiteY136" fmla="*/ 676023 h 1980857"/>
              <a:gd name="connsiteX137" fmla="*/ 1506744 w 2279787"/>
              <a:gd name="connsiteY137" fmla="*/ 717320 h 1980857"/>
              <a:gd name="connsiteX138" fmla="*/ 1569979 w 2279787"/>
              <a:gd name="connsiteY138" fmla="*/ 830088 h 1980857"/>
              <a:gd name="connsiteX139" fmla="*/ 1569677 w 2279787"/>
              <a:gd name="connsiteY139" fmla="*/ 1005103 h 1980857"/>
              <a:gd name="connsiteX140" fmla="*/ 1508583 w 2279787"/>
              <a:gd name="connsiteY140" fmla="*/ 1114192 h 1980857"/>
              <a:gd name="connsiteX141" fmla="*/ 1436342 w 2279787"/>
              <a:gd name="connsiteY141" fmla="*/ 1139261 h 1980857"/>
              <a:gd name="connsiteX142" fmla="*/ 1443536 w 2279787"/>
              <a:gd name="connsiteY142" fmla="*/ 1089014 h 1980857"/>
              <a:gd name="connsiteX143" fmla="*/ 1509764 w 2279787"/>
              <a:gd name="connsiteY143" fmla="*/ 931736 h 1980857"/>
              <a:gd name="connsiteX144" fmla="*/ 1259268 w 2279787"/>
              <a:gd name="connsiteY144" fmla="*/ 635661 h 1980857"/>
              <a:gd name="connsiteX145" fmla="*/ 1021320 w 2279787"/>
              <a:gd name="connsiteY145" fmla="*/ 635661 h 1980857"/>
              <a:gd name="connsiteX146" fmla="*/ 770824 w 2279787"/>
              <a:gd name="connsiteY146" fmla="*/ 931736 h 1980857"/>
              <a:gd name="connsiteX147" fmla="*/ 837052 w 2279787"/>
              <a:gd name="connsiteY147" fmla="*/ 1089014 h 1980857"/>
              <a:gd name="connsiteX148" fmla="*/ 844246 w 2279787"/>
              <a:gd name="connsiteY148" fmla="*/ 1139261 h 1980857"/>
              <a:gd name="connsiteX149" fmla="*/ 802208 w 2279787"/>
              <a:gd name="connsiteY149" fmla="*/ 1144725 h 198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2279787" h="1980857">
                <a:moveTo>
                  <a:pt x="651960" y="1973397"/>
                </a:moveTo>
                <a:cubicBezTo>
                  <a:pt x="642761" y="1967576"/>
                  <a:pt x="639274" y="1961810"/>
                  <a:pt x="639274" y="1952392"/>
                </a:cubicBezTo>
                <a:cubicBezTo>
                  <a:pt x="639274" y="1933473"/>
                  <a:pt x="657122" y="1923342"/>
                  <a:pt x="690428" y="1923342"/>
                </a:cubicBezTo>
                <a:cubicBezTo>
                  <a:pt x="713163" y="1923342"/>
                  <a:pt x="716458" y="1922326"/>
                  <a:pt x="718709" y="1914610"/>
                </a:cubicBezTo>
                <a:cubicBezTo>
                  <a:pt x="720082" y="1909833"/>
                  <a:pt x="726699" y="1884983"/>
                  <a:pt x="733399" y="1859420"/>
                </a:cubicBezTo>
                <a:cubicBezTo>
                  <a:pt x="748995" y="1799920"/>
                  <a:pt x="753663" y="1788580"/>
                  <a:pt x="764591" y="1783884"/>
                </a:cubicBezTo>
                <a:cubicBezTo>
                  <a:pt x="779144" y="1777624"/>
                  <a:pt x="797540" y="1779464"/>
                  <a:pt x="808496" y="1788278"/>
                </a:cubicBezTo>
                <a:cubicBezTo>
                  <a:pt x="817365" y="1795417"/>
                  <a:pt x="818381" y="1799453"/>
                  <a:pt x="815909" y="1818289"/>
                </a:cubicBezTo>
                <a:cubicBezTo>
                  <a:pt x="814317" y="1830260"/>
                  <a:pt x="807837" y="1858789"/>
                  <a:pt x="801439" y="1881689"/>
                </a:cubicBezTo>
                <a:lnTo>
                  <a:pt x="789852" y="1923342"/>
                </a:lnTo>
                <a:lnTo>
                  <a:pt x="827771" y="1923342"/>
                </a:lnTo>
                <a:cubicBezTo>
                  <a:pt x="848639" y="1923342"/>
                  <a:pt x="865718" y="1922024"/>
                  <a:pt x="865718" y="1920432"/>
                </a:cubicBezTo>
                <a:cubicBezTo>
                  <a:pt x="865772" y="1910546"/>
                  <a:pt x="1106631" y="1020342"/>
                  <a:pt x="1111052" y="1013725"/>
                </a:cubicBezTo>
                <a:cubicBezTo>
                  <a:pt x="1123078" y="995658"/>
                  <a:pt x="1161354" y="998486"/>
                  <a:pt x="1171321" y="1018201"/>
                </a:cubicBezTo>
                <a:cubicBezTo>
                  <a:pt x="1174808" y="1025037"/>
                  <a:pt x="1231234" y="1231052"/>
                  <a:pt x="1296720" y="1476029"/>
                </a:cubicBezTo>
                <a:cubicBezTo>
                  <a:pt x="1362207" y="1720979"/>
                  <a:pt x="1416408" y="1921914"/>
                  <a:pt x="1417149" y="1922546"/>
                </a:cubicBezTo>
                <a:cubicBezTo>
                  <a:pt x="1417918" y="1923177"/>
                  <a:pt x="1434667" y="1923177"/>
                  <a:pt x="1454355" y="1922546"/>
                </a:cubicBezTo>
                <a:lnTo>
                  <a:pt x="1490214" y="1921392"/>
                </a:lnTo>
                <a:lnTo>
                  <a:pt x="1407045" y="1611560"/>
                </a:lnTo>
                <a:cubicBezTo>
                  <a:pt x="1361328" y="1441158"/>
                  <a:pt x="1323766" y="1296072"/>
                  <a:pt x="1323629" y="1289152"/>
                </a:cubicBezTo>
                <a:cubicBezTo>
                  <a:pt x="1323464" y="1281492"/>
                  <a:pt x="1327143" y="1273529"/>
                  <a:pt x="1332992" y="1268834"/>
                </a:cubicBezTo>
                <a:cubicBezTo>
                  <a:pt x="1345293" y="1258949"/>
                  <a:pt x="1372037" y="1258565"/>
                  <a:pt x="1382800" y="1268148"/>
                </a:cubicBezTo>
                <a:cubicBezTo>
                  <a:pt x="1388099" y="1272843"/>
                  <a:pt x="1418824" y="1380174"/>
                  <a:pt x="1475058" y="1590555"/>
                </a:cubicBezTo>
                <a:cubicBezTo>
                  <a:pt x="1521434" y="1764005"/>
                  <a:pt x="1560506" y="1909833"/>
                  <a:pt x="1561879" y="1914610"/>
                </a:cubicBezTo>
                <a:cubicBezTo>
                  <a:pt x="1564213" y="1922628"/>
                  <a:pt x="1567123" y="1923342"/>
                  <a:pt x="1598260" y="1923342"/>
                </a:cubicBezTo>
                <a:cubicBezTo>
                  <a:pt x="1627777" y="1923342"/>
                  <a:pt x="1633625" y="1924550"/>
                  <a:pt x="1643950" y="1932842"/>
                </a:cubicBezTo>
                <a:cubicBezTo>
                  <a:pt x="1650430" y="1938059"/>
                  <a:pt x="1655756" y="1946873"/>
                  <a:pt x="1655756" y="1952392"/>
                </a:cubicBezTo>
                <a:cubicBezTo>
                  <a:pt x="1655756" y="1957911"/>
                  <a:pt x="1650430" y="1966698"/>
                  <a:pt x="1643950" y="1971915"/>
                </a:cubicBezTo>
                <a:lnTo>
                  <a:pt x="1632115" y="1981414"/>
                </a:lnTo>
                <a:lnTo>
                  <a:pt x="1148394" y="1981414"/>
                </a:lnTo>
                <a:cubicBezTo>
                  <a:pt x="666320" y="1981414"/>
                  <a:pt x="664618" y="1981387"/>
                  <a:pt x="651960" y="1973397"/>
                </a:cubicBezTo>
                <a:close/>
                <a:moveTo>
                  <a:pt x="1340295" y="1914610"/>
                </a:moveTo>
                <a:cubicBezTo>
                  <a:pt x="1338895" y="1909833"/>
                  <a:pt x="1326896" y="1865049"/>
                  <a:pt x="1313607" y="1815131"/>
                </a:cubicBezTo>
                <a:cubicBezTo>
                  <a:pt x="1300317" y="1765213"/>
                  <a:pt x="1288675" y="1723752"/>
                  <a:pt x="1287769" y="1723038"/>
                </a:cubicBezTo>
                <a:cubicBezTo>
                  <a:pt x="1286863" y="1722297"/>
                  <a:pt x="1210146" y="1756839"/>
                  <a:pt x="1117312" y="1799782"/>
                </a:cubicBezTo>
                <a:lnTo>
                  <a:pt x="948502" y="1877844"/>
                </a:lnTo>
                <a:lnTo>
                  <a:pt x="945262" y="1895280"/>
                </a:lnTo>
                <a:cubicBezTo>
                  <a:pt x="943478" y="1904863"/>
                  <a:pt x="940869" y="1915105"/>
                  <a:pt x="939469" y="1918015"/>
                </a:cubicBezTo>
                <a:cubicBezTo>
                  <a:pt x="937354" y="1922463"/>
                  <a:pt x="969864" y="1923342"/>
                  <a:pt x="1139882" y="1923342"/>
                </a:cubicBezTo>
                <a:lnTo>
                  <a:pt x="1342821" y="1923342"/>
                </a:lnTo>
                <a:close/>
                <a:moveTo>
                  <a:pt x="1141694" y="1722104"/>
                </a:moveTo>
                <a:cubicBezTo>
                  <a:pt x="1199218" y="1695553"/>
                  <a:pt x="1246226" y="1672901"/>
                  <a:pt x="1246143" y="1671748"/>
                </a:cubicBezTo>
                <a:cubicBezTo>
                  <a:pt x="1245924" y="1668589"/>
                  <a:pt x="1042847" y="1543383"/>
                  <a:pt x="1040705" y="1545113"/>
                </a:cubicBezTo>
                <a:cubicBezTo>
                  <a:pt x="1039030" y="1546458"/>
                  <a:pt x="971676" y="1793193"/>
                  <a:pt x="971676" y="1797970"/>
                </a:cubicBezTo>
                <a:cubicBezTo>
                  <a:pt x="971676" y="1800222"/>
                  <a:pt x="991666" y="1791325"/>
                  <a:pt x="1141694" y="1722104"/>
                </a:cubicBezTo>
                <a:close/>
                <a:moveTo>
                  <a:pt x="1230602" y="1503789"/>
                </a:moveTo>
                <a:cubicBezTo>
                  <a:pt x="1216709" y="1451263"/>
                  <a:pt x="1203694" y="1408264"/>
                  <a:pt x="1201662" y="1408264"/>
                </a:cubicBezTo>
                <a:cubicBezTo>
                  <a:pt x="1195978" y="1408236"/>
                  <a:pt x="1080079" y="1486299"/>
                  <a:pt x="1080079" y="1490170"/>
                </a:cubicBezTo>
                <a:cubicBezTo>
                  <a:pt x="1080079" y="1493684"/>
                  <a:pt x="1252074" y="1602390"/>
                  <a:pt x="1254518" y="1600412"/>
                </a:cubicBezTo>
                <a:cubicBezTo>
                  <a:pt x="1255287" y="1599809"/>
                  <a:pt x="1244523" y="1556343"/>
                  <a:pt x="1230602" y="1503789"/>
                </a:cubicBezTo>
                <a:close/>
                <a:moveTo>
                  <a:pt x="1134363" y="1375754"/>
                </a:moveTo>
                <a:lnTo>
                  <a:pt x="1186944" y="1341322"/>
                </a:lnTo>
                <a:lnTo>
                  <a:pt x="1175824" y="1300246"/>
                </a:lnTo>
                <a:cubicBezTo>
                  <a:pt x="1169701" y="1277620"/>
                  <a:pt x="1159871" y="1240415"/>
                  <a:pt x="1153940" y="1217516"/>
                </a:cubicBezTo>
                <a:cubicBezTo>
                  <a:pt x="1148009" y="1194616"/>
                  <a:pt x="1141996" y="1175863"/>
                  <a:pt x="1140541" y="1175863"/>
                </a:cubicBezTo>
                <a:cubicBezTo>
                  <a:pt x="1139086" y="1175863"/>
                  <a:pt x="1123627" y="1229075"/>
                  <a:pt x="1106192" y="1294095"/>
                </a:cubicBezTo>
                <a:cubicBezTo>
                  <a:pt x="1088783" y="1359114"/>
                  <a:pt x="1076153" y="1411833"/>
                  <a:pt x="1078157" y="1411257"/>
                </a:cubicBezTo>
                <a:cubicBezTo>
                  <a:pt x="1080162" y="1410653"/>
                  <a:pt x="1105450" y="1394700"/>
                  <a:pt x="1134363" y="1375754"/>
                </a:cubicBezTo>
                <a:close/>
                <a:moveTo>
                  <a:pt x="792516" y="1707415"/>
                </a:moveTo>
                <a:cubicBezTo>
                  <a:pt x="788534" y="1703681"/>
                  <a:pt x="783729" y="1698464"/>
                  <a:pt x="781807" y="1695773"/>
                </a:cubicBezTo>
                <a:cubicBezTo>
                  <a:pt x="776563" y="1688359"/>
                  <a:pt x="984609" y="914109"/>
                  <a:pt x="997432" y="893405"/>
                </a:cubicBezTo>
                <a:cubicBezTo>
                  <a:pt x="1004983" y="881187"/>
                  <a:pt x="1014126" y="873663"/>
                  <a:pt x="1029173" y="867266"/>
                </a:cubicBezTo>
                <a:cubicBezTo>
                  <a:pt x="1049052" y="858809"/>
                  <a:pt x="1055450" y="858287"/>
                  <a:pt x="1140294" y="858287"/>
                </a:cubicBezTo>
                <a:cubicBezTo>
                  <a:pt x="1225138" y="858287"/>
                  <a:pt x="1231536" y="858809"/>
                  <a:pt x="1251415" y="867266"/>
                </a:cubicBezTo>
                <a:cubicBezTo>
                  <a:pt x="1266489" y="873663"/>
                  <a:pt x="1275578" y="881187"/>
                  <a:pt x="1283129" y="893405"/>
                </a:cubicBezTo>
                <a:cubicBezTo>
                  <a:pt x="1289307" y="903400"/>
                  <a:pt x="1308280" y="965262"/>
                  <a:pt x="1328571" y="1041485"/>
                </a:cubicBezTo>
                <a:lnTo>
                  <a:pt x="1363415" y="1172375"/>
                </a:lnTo>
                <a:lnTo>
                  <a:pt x="1353750" y="1182837"/>
                </a:lnTo>
                <a:cubicBezTo>
                  <a:pt x="1347133" y="1190003"/>
                  <a:pt x="1338868" y="1193655"/>
                  <a:pt x="1327555" y="1194451"/>
                </a:cubicBezTo>
                <a:cubicBezTo>
                  <a:pt x="1297214" y="1196566"/>
                  <a:pt x="1294277" y="1190662"/>
                  <a:pt x="1258554" y="1055818"/>
                </a:cubicBezTo>
                <a:cubicBezTo>
                  <a:pt x="1240762" y="988711"/>
                  <a:pt x="1225083" y="929897"/>
                  <a:pt x="1223683" y="925092"/>
                </a:cubicBezTo>
                <a:cubicBezTo>
                  <a:pt x="1221184" y="916497"/>
                  <a:pt x="1220196" y="916387"/>
                  <a:pt x="1139772" y="916387"/>
                </a:cubicBezTo>
                <a:cubicBezTo>
                  <a:pt x="1095016" y="916387"/>
                  <a:pt x="1058388" y="917211"/>
                  <a:pt x="1058388" y="918200"/>
                </a:cubicBezTo>
                <a:cubicBezTo>
                  <a:pt x="1058388" y="921605"/>
                  <a:pt x="855695" y="1677322"/>
                  <a:pt x="850890" y="1691874"/>
                </a:cubicBezTo>
                <a:cubicBezTo>
                  <a:pt x="848254" y="1699809"/>
                  <a:pt x="841994" y="1708102"/>
                  <a:pt x="836942" y="1710270"/>
                </a:cubicBezTo>
                <a:cubicBezTo>
                  <a:pt x="822801" y="1716339"/>
                  <a:pt x="800533" y="1714938"/>
                  <a:pt x="792516" y="1707415"/>
                </a:cubicBezTo>
                <a:close/>
                <a:moveTo>
                  <a:pt x="391167" y="1610132"/>
                </a:moveTo>
                <a:cubicBezTo>
                  <a:pt x="370107" y="1599644"/>
                  <a:pt x="275570" y="1520099"/>
                  <a:pt x="238338" y="1481576"/>
                </a:cubicBezTo>
                <a:cubicBezTo>
                  <a:pt x="121808" y="1360927"/>
                  <a:pt x="47677" y="1224023"/>
                  <a:pt x="12013" y="1063561"/>
                </a:cubicBezTo>
                <a:cubicBezTo>
                  <a:pt x="-2535" y="998101"/>
                  <a:pt x="-3737" y="849391"/>
                  <a:pt x="9725" y="780967"/>
                </a:cubicBezTo>
                <a:cubicBezTo>
                  <a:pt x="68586" y="481870"/>
                  <a:pt x="299678" y="227256"/>
                  <a:pt x="632053" y="95239"/>
                </a:cubicBezTo>
                <a:cubicBezTo>
                  <a:pt x="743257" y="51060"/>
                  <a:pt x="855531" y="22751"/>
                  <a:pt x="978898" y="7786"/>
                </a:cubicBezTo>
                <a:cubicBezTo>
                  <a:pt x="1057207" y="-1714"/>
                  <a:pt x="1220965" y="-1878"/>
                  <a:pt x="1299549" y="7457"/>
                </a:cubicBezTo>
                <a:cubicBezTo>
                  <a:pt x="1548342" y="37029"/>
                  <a:pt x="1770255" y="126184"/>
                  <a:pt x="1946698" y="267426"/>
                </a:cubicBezTo>
                <a:cubicBezTo>
                  <a:pt x="2120148" y="406307"/>
                  <a:pt x="2232147" y="583738"/>
                  <a:pt x="2270835" y="780967"/>
                </a:cubicBezTo>
                <a:cubicBezTo>
                  <a:pt x="2283246" y="844201"/>
                  <a:pt x="2283191" y="993900"/>
                  <a:pt x="2270753" y="1053868"/>
                </a:cubicBezTo>
                <a:cubicBezTo>
                  <a:pt x="2238215" y="1210761"/>
                  <a:pt x="2167018" y="1346731"/>
                  <a:pt x="2052739" y="1470209"/>
                </a:cubicBezTo>
                <a:cubicBezTo>
                  <a:pt x="2006006" y="1520703"/>
                  <a:pt x="1894913" y="1612054"/>
                  <a:pt x="1875747" y="1615761"/>
                </a:cubicBezTo>
                <a:cubicBezTo>
                  <a:pt x="1855950" y="1619578"/>
                  <a:pt x="1836867" y="1607222"/>
                  <a:pt x="1834973" y="1589375"/>
                </a:cubicBezTo>
                <a:cubicBezTo>
                  <a:pt x="1833600" y="1576579"/>
                  <a:pt x="1836702" y="1573202"/>
                  <a:pt x="1882474" y="1537479"/>
                </a:cubicBezTo>
                <a:cubicBezTo>
                  <a:pt x="1975775" y="1464661"/>
                  <a:pt x="2042662" y="1390279"/>
                  <a:pt x="2101504" y="1293985"/>
                </a:cubicBezTo>
                <a:cubicBezTo>
                  <a:pt x="2225118" y="1091622"/>
                  <a:pt x="2244366" y="864026"/>
                  <a:pt x="2156144" y="647220"/>
                </a:cubicBezTo>
                <a:cubicBezTo>
                  <a:pt x="2043678" y="370831"/>
                  <a:pt x="1755428" y="154246"/>
                  <a:pt x="1405919" y="83542"/>
                </a:cubicBezTo>
                <a:cubicBezTo>
                  <a:pt x="1327198" y="67617"/>
                  <a:pt x="1265281" y="60642"/>
                  <a:pt x="1178844" y="57924"/>
                </a:cubicBezTo>
                <a:cubicBezTo>
                  <a:pt x="704102" y="43015"/>
                  <a:pt x="272083" y="284642"/>
                  <a:pt x="124251" y="647742"/>
                </a:cubicBezTo>
                <a:cubicBezTo>
                  <a:pt x="86030" y="741647"/>
                  <a:pt x="70901" y="818336"/>
                  <a:pt x="70901" y="918337"/>
                </a:cubicBezTo>
                <a:cubicBezTo>
                  <a:pt x="70901" y="1054362"/>
                  <a:pt x="104976" y="1172622"/>
                  <a:pt x="179112" y="1293985"/>
                </a:cubicBezTo>
                <a:cubicBezTo>
                  <a:pt x="237871" y="1390169"/>
                  <a:pt x="304840" y="1464661"/>
                  <a:pt x="397867" y="1537287"/>
                </a:cubicBezTo>
                <a:cubicBezTo>
                  <a:pt x="440563" y="1570593"/>
                  <a:pt x="446577" y="1576909"/>
                  <a:pt x="446577" y="1588304"/>
                </a:cubicBezTo>
                <a:cubicBezTo>
                  <a:pt x="446577" y="1597749"/>
                  <a:pt x="443117" y="1603515"/>
                  <a:pt x="433891" y="1609364"/>
                </a:cubicBezTo>
                <a:cubicBezTo>
                  <a:pt x="418268" y="1619248"/>
                  <a:pt x="409756" y="1619386"/>
                  <a:pt x="391194" y="1610132"/>
                </a:cubicBezTo>
                <a:close/>
                <a:moveTo>
                  <a:pt x="628758" y="1439593"/>
                </a:moveTo>
                <a:cubicBezTo>
                  <a:pt x="526725" y="1373393"/>
                  <a:pt x="456297" y="1303623"/>
                  <a:pt x="399652" y="1212656"/>
                </a:cubicBezTo>
                <a:cubicBezTo>
                  <a:pt x="339986" y="1116828"/>
                  <a:pt x="314258" y="1026273"/>
                  <a:pt x="314917" y="914466"/>
                </a:cubicBezTo>
                <a:cubicBezTo>
                  <a:pt x="315384" y="835140"/>
                  <a:pt x="326449" y="778962"/>
                  <a:pt x="355335" y="709467"/>
                </a:cubicBezTo>
                <a:cubicBezTo>
                  <a:pt x="426642" y="537939"/>
                  <a:pt x="570932" y="404330"/>
                  <a:pt x="771757" y="323824"/>
                </a:cubicBezTo>
                <a:cubicBezTo>
                  <a:pt x="844795" y="294554"/>
                  <a:pt x="901522" y="278354"/>
                  <a:pt x="978129" y="264900"/>
                </a:cubicBezTo>
                <a:cubicBezTo>
                  <a:pt x="1020963" y="257377"/>
                  <a:pt x="1041254" y="256306"/>
                  <a:pt x="1140294" y="256306"/>
                </a:cubicBezTo>
                <a:cubicBezTo>
                  <a:pt x="1240048" y="256306"/>
                  <a:pt x="1259515" y="257349"/>
                  <a:pt x="1304079" y="265120"/>
                </a:cubicBezTo>
                <a:cubicBezTo>
                  <a:pt x="1442657" y="289255"/>
                  <a:pt x="1563938" y="336482"/>
                  <a:pt x="1671517" y="408147"/>
                </a:cubicBezTo>
                <a:cubicBezTo>
                  <a:pt x="1722725" y="442276"/>
                  <a:pt x="1729453" y="454715"/>
                  <a:pt x="1706553" y="473111"/>
                </a:cubicBezTo>
                <a:cubicBezTo>
                  <a:pt x="1687937" y="488103"/>
                  <a:pt x="1675251" y="485357"/>
                  <a:pt x="1633378" y="457186"/>
                </a:cubicBezTo>
                <a:cubicBezTo>
                  <a:pt x="1539995" y="394390"/>
                  <a:pt x="1437990" y="351749"/>
                  <a:pt x="1329615" y="330167"/>
                </a:cubicBezTo>
                <a:cubicBezTo>
                  <a:pt x="1267341" y="317756"/>
                  <a:pt x="1253529" y="315971"/>
                  <a:pt x="1192106" y="312319"/>
                </a:cubicBezTo>
                <a:cubicBezTo>
                  <a:pt x="824311" y="290436"/>
                  <a:pt x="487873" y="491288"/>
                  <a:pt x="404100" y="782779"/>
                </a:cubicBezTo>
                <a:cubicBezTo>
                  <a:pt x="357477" y="944888"/>
                  <a:pt x="398498" y="1117707"/>
                  <a:pt x="517417" y="1260212"/>
                </a:cubicBezTo>
                <a:cubicBezTo>
                  <a:pt x="549817" y="1299065"/>
                  <a:pt x="614974" y="1355298"/>
                  <a:pt x="671784" y="1393519"/>
                </a:cubicBezTo>
                <a:cubicBezTo>
                  <a:pt x="707177" y="1417298"/>
                  <a:pt x="711543" y="1421691"/>
                  <a:pt x="711543" y="1433332"/>
                </a:cubicBezTo>
                <a:cubicBezTo>
                  <a:pt x="711543" y="1448242"/>
                  <a:pt x="693750" y="1462465"/>
                  <a:pt x="675079" y="1462465"/>
                </a:cubicBezTo>
                <a:cubicBezTo>
                  <a:pt x="668736" y="1462465"/>
                  <a:pt x="648884" y="1452663"/>
                  <a:pt x="628758" y="1439593"/>
                </a:cubicBezTo>
                <a:close/>
                <a:moveTo>
                  <a:pt x="1581731" y="1454448"/>
                </a:moveTo>
                <a:cubicBezTo>
                  <a:pt x="1572505" y="1448599"/>
                  <a:pt x="1569045" y="1442861"/>
                  <a:pt x="1569045" y="1433332"/>
                </a:cubicBezTo>
                <a:cubicBezTo>
                  <a:pt x="1569045" y="1421691"/>
                  <a:pt x="1573411" y="1417324"/>
                  <a:pt x="1608831" y="1393546"/>
                </a:cubicBezTo>
                <a:cubicBezTo>
                  <a:pt x="1731238" y="1311338"/>
                  <a:pt x="1810892" y="1218559"/>
                  <a:pt x="1857707" y="1103566"/>
                </a:cubicBezTo>
                <a:cubicBezTo>
                  <a:pt x="1885165" y="1036158"/>
                  <a:pt x="1893622" y="992033"/>
                  <a:pt x="1893622" y="916387"/>
                </a:cubicBezTo>
                <a:cubicBezTo>
                  <a:pt x="1893622" y="871961"/>
                  <a:pt x="1890986" y="840687"/>
                  <a:pt x="1885000" y="813751"/>
                </a:cubicBezTo>
                <a:cubicBezTo>
                  <a:pt x="1867867" y="736815"/>
                  <a:pt x="1825994" y="652245"/>
                  <a:pt x="1770749" y="582942"/>
                </a:cubicBezTo>
                <a:cubicBezTo>
                  <a:pt x="1757844" y="566742"/>
                  <a:pt x="1747300" y="550157"/>
                  <a:pt x="1747300" y="546039"/>
                </a:cubicBezTo>
                <a:cubicBezTo>
                  <a:pt x="1747300" y="525418"/>
                  <a:pt x="1780744" y="511387"/>
                  <a:pt x="1802517" y="522837"/>
                </a:cubicBezTo>
                <a:cubicBezTo>
                  <a:pt x="1817207" y="530580"/>
                  <a:pt x="1863583" y="590658"/>
                  <a:pt x="1889558" y="635606"/>
                </a:cubicBezTo>
                <a:cubicBezTo>
                  <a:pt x="2051531" y="915976"/>
                  <a:pt x="1953782" y="1247060"/>
                  <a:pt x="1652132" y="1439758"/>
                </a:cubicBezTo>
                <a:cubicBezTo>
                  <a:pt x="1613582" y="1464387"/>
                  <a:pt x="1601472" y="1466913"/>
                  <a:pt x="1581731" y="1454448"/>
                </a:cubicBezTo>
                <a:close/>
                <a:moveTo>
                  <a:pt x="802208" y="1144725"/>
                </a:moveTo>
                <a:cubicBezTo>
                  <a:pt x="790703" y="1139343"/>
                  <a:pt x="752290" y="1091787"/>
                  <a:pt x="735761" y="1062490"/>
                </a:cubicBezTo>
                <a:cubicBezTo>
                  <a:pt x="708852" y="1014768"/>
                  <a:pt x="700065" y="978634"/>
                  <a:pt x="700230" y="916387"/>
                </a:cubicBezTo>
                <a:cubicBezTo>
                  <a:pt x="700395" y="851176"/>
                  <a:pt x="709017" y="818886"/>
                  <a:pt x="740291" y="766277"/>
                </a:cubicBezTo>
                <a:cubicBezTo>
                  <a:pt x="763493" y="727287"/>
                  <a:pt x="780626" y="706886"/>
                  <a:pt x="816184" y="676023"/>
                </a:cubicBezTo>
                <a:cubicBezTo>
                  <a:pt x="1008744" y="508834"/>
                  <a:pt x="1345540" y="528960"/>
                  <a:pt x="1506744" y="717320"/>
                </a:cubicBezTo>
                <a:cubicBezTo>
                  <a:pt x="1528847" y="743130"/>
                  <a:pt x="1558227" y="795546"/>
                  <a:pt x="1569979" y="830088"/>
                </a:cubicBezTo>
                <a:cubicBezTo>
                  <a:pt x="1584998" y="874322"/>
                  <a:pt x="1584861" y="959496"/>
                  <a:pt x="1569677" y="1005103"/>
                </a:cubicBezTo>
                <a:cubicBezTo>
                  <a:pt x="1556113" y="1045850"/>
                  <a:pt x="1537194" y="1079596"/>
                  <a:pt x="1508583" y="1114192"/>
                </a:cubicBezTo>
                <a:cubicBezTo>
                  <a:pt x="1477858" y="1151370"/>
                  <a:pt x="1459379" y="1157768"/>
                  <a:pt x="1436342" y="1139261"/>
                </a:cubicBezTo>
                <a:cubicBezTo>
                  <a:pt x="1420060" y="1126164"/>
                  <a:pt x="1421460" y="1116307"/>
                  <a:pt x="1443536" y="1089014"/>
                </a:cubicBezTo>
                <a:cubicBezTo>
                  <a:pt x="1486123" y="1036322"/>
                  <a:pt x="1505371" y="990606"/>
                  <a:pt x="1509764" y="931736"/>
                </a:cubicBezTo>
                <a:cubicBezTo>
                  <a:pt x="1519539" y="801038"/>
                  <a:pt x="1414871" y="677341"/>
                  <a:pt x="1259268" y="635661"/>
                </a:cubicBezTo>
                <a:cubicBezTo>
                  <a:pt x="1179201" y="614216"/>
                  <a:pt x="1101386" y="614216"/>
                  <a:pt x="1021320" y="635661"/>
                </a:cubicBezTo>
                <a:cubicBezTo>
                  <a:pt x="865525" y="677396"/>
                  <a:pt x="761049" y="800901"/>
                  <a:pt x="770824" y="931736"/>
                </a:cubicBezTo>
                <a:cubicBezTo>
                  <a:pt x="775217" y="990606"/>
                  <a:pt x="794492" y="1036322"/>
                  <a:pt x="837052" y="1089014"/>
                </a:cubicBezTo>
                <a:cubicBezTo>
                  <a:pt x="859128" y="1116307"/>
                  <a:pt x="860528" y="1126164"/>
                  <a:pt x="844246" y="1139261"/>
                </a:cubicBezTo>
                <a:cubicBezTo>
                  <a:pt x="831917" y="1149146"/>
                  <a:pt x="816047" y="1151233"/>
                  <a:pt x="802208" y="1144725"/>
                </a:cubicBezTo>
                <a:close/>
              </a:path>
            </a:pathLst>
          </a:custGeom>
          <a:solidFill>
            <a:schemeClr val="bg1"/>
          </a:solidFill>
          <a:ln w="4312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521AC15-D8CF-4FC5-9D92-BCCCAD930C36}"/>
              </a:ext>
            </a:extLst>
          </p:cNvPr>
          <p:cNvSpPr/>
          <p:nvPr/>
        </p:nvSpPr>
        <p:spPr>
          <a:xfrm flipH="1">
            <a:off x="3306051" y="2580768"/>
            <a:ext cx="731520" cy="684851"/>
          </a:xfrm>
          <a:prstGeom prst="ellipse">
            <a:avLst/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975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B130B95-FEF1-49C7-9997-45CDADDA19B4}"/>
              </a:ext>
            </a:extLst>
          </p:cNvPr>
          <p:cNvSpPr/>
          <p:nvPr/>
        </p:nvSpPr>
        <p:spPr>
          <a:xfrm>
            <a:off x="3468611" y="2732957"/>
            <a:ext cx="406400" cy="380473"/>
          </a:xfrm>
          <a:custGeom>
            <a:avLst/>
            <a:gdLst>
              <a:gd name="connsiteX0" fmla="*/ 66338 w 1670028"/>
              <a:gd name="connsiteY0" fmla="*/ 1665042 h 1672942"/>
              <a:gd name="connsiteX1" fmla="*/ 6041 w 1670028"/>
              <a:gd name="connsiteY1" fmla="*/ 1614547 h 1672942"/>
              <a:gd name="connsiteX2" fmla="*/ 6288 w 1670028"/>
              <a:gd name="connsiteY2" fmla="*/ 57781 h 1672942"/>
              <a:gd name="connsiteX3" fmla="*/ 77925 w 1670028"/>
              <a:gd name="connsiteY3" fmla="*/ 3882 h 1672942"/>
              <a:gd name="connsiteX4" fmla="*/ 613459 w 1670028"/>
              <a:gd name="connsiteY4" fmla="*/ 587 h 1672942"/>
              <a:gd name="connsiteX5" fmla="*/ 1144435 w 1670028"/>
              <a:gd name="connsiteY5" fmla="*/ 8055 h 1672942"/>
              <a:gd name="connsiteX6" fmla="*/ 1656465 w 1670028"/>
              <a:gd name="connsiteY6" fmla="*/ 400782 h 1672942"/>
              <a:gd name="connsiteX7" fmla="*/ 1668629 w 1670028"/>
              <a:gd name="connsiteY7" fmla="*/ 416461 h 1672942"/>
              <a:gd name="connsiteX8" fmla="*/ 1669864 w 1670028"/>
              <a:gd name="connsiteY8" fmla="*/ 1009161 h 1672942"/>
              <a:gd name="connsiteX9" fmla="*/ 1663659 w 1670028"/>
              <a:gd name="connsiteY9" fmla="*/ 1617046 h 1672942"/>
              <a:gd name="connsiteX10" fmla="*/ 1605119 w 1670028"/>
              <a:gd name="connsiteY10" fmla="*/ 1665125 h 1672942"/>
              <a:gd name="connsiteX11" fmla="*/ 1582412 w 1670028"/>
              <a:gd name="connsiteY11" fmla="*/ 1673252 h 1672942"/>
              <a:gd name="connsiteX12" fmla="*/ 835838 w 1670028"/>
              <a:gd name="connsiteY12" fmla="*/ 1673252 h 1672942"/>
              <a:gd name="connsiteX13" fmla="*/ 89265 w 1670028"/>
              <a:gd name="connsiteY13" fmla="*/ 1673252 h 1672942"/>
              <a:gd name="connsiteX14" fmla="*/ 1587162 w 1670028"/>
              <a:gd name="connsiteY14" fmla="*/ 1608974 h 1672942"/>
              <a:gd name="connsiteX15" fmla="*/ 1598282 w 1670028"/>
              <a:gd name="connsiteY15" fmla="*/ 1600434 h 1672942"/>
              <a:gd name="connsiteX16" fmla="*/ 1598282 w 1670028"/>
              <a:gd name="connsiteY16" fmla="*/ 1015504 h 1672942"/>
              <a:gd name="connsiteX17" fmla="*/ 1598282 w 1670028"/>
              <a:gd name="connsiteY17" fmla="*/ 430574 h 1672942"/>
              <a:gd name="connsiteX18" fmla="*/ 1380461 w 1670028"/>
              <a:gd name="connsiteY18" fmla="*/ 263137 h 1672942"/>
              <a:gd name="connsiteX19" fmla="*/ 1162639 w 1670028"/>
              <a:gd name="connsiteY19" fmla="*/ 95728 h 1672942"/>
              <a:gd name="connsiteX20" fmla="*/ 1162612 w 1670028"/>
              <a:gd name="connsiteY20" fmla="*/ 234471 h 1672942"/>
              <a:gd name="connsiteX21" fmla="*/ 1162612 w 1670028"/>
              <a:gd name="connsiteY21" fmla="*/ 373215 h 1672942"/>
              <a:gd name="connsiteX22" fmla="*/ 1173732 w 1670028"/>
              <a:gd name="connsiteY22" fmla="*/ 381754 h 1672942"/>
              <a:gd name="connsiteX23" fmla="*/ 1184880 w 1670028"/>
              <a:gd name="connsiteY23" fmla="*/ 390321 h 1672942"/>
              <a:gd name="connsiteX24" fmla="*/ 1318983 w 1670028"/>
              <a:gd name="connsiteY24" fmla="*/ 390321 h 1672942"/>
              <a:gd name="connsiteX25" fmla="*/ 1453059 w 1670028"/>
              <a:gd name="connsiteY25" fmla="*/ 390321 h 1672942"/>
              <a:gd name="connsiteX26" fmla="*/ 1453059 w 1670028"/>
              <a:gd name="connsiteY26" fmla="*/ 418218 h 1672942"/>
              <a:gd name="connsiteX27" fmla="*/ 1453059 w 1670028"/>
              <a:gd name="connsiteY27" fmla="*/ 446115 h 1672942"/>
              <a:gd name="connsiteX28" fmla="*/ 1315771 w 1670028"/>
              <a:gd name="connsiteY28" fmla="*/ 446087 h 1672942"/>
              <a:gd name="connsiteX29" fmla="*/ 1155555 w 1670028"/>
              <a:gd name="connsiteY29" fmla="*/ 437823 h 1672942"/>
              <a:gd name="connsiteX30" fmla="*/ 1095258 w 1670028"/>
              <a:gd name="connsiteY30" fmla="*/ 387328 h 1672942"/>
              <a:gd name="connsiteX31" fmla="*/ 1089986 w 1670028"/>
              <a:gd name="connsiteY31" fmla="*/ 214729 h 1672942"/>
              <a:gd name="connsiteX32" fmla="*/ 1089986 w 1670028"/>
              <a:gd name="connsiteY32" fmla="*/ 55640 h 1672942"/>
              <a:gd name="connsiteX33" fmla="*/ 592838 w 1670028"/>
              <a:gd name="connsiteY33" fmla="*/ 55640 h 1672942"/>
              <a:gd name="connsiteX34" fmla="*/ 95663 w 1670028"/>
              <a:gd name="connsiteY34" fmla="*/ 55640 h 1672942"/>
              <a:gd name="connsiteX35" fmla="*/ 84542 w 1670028"/>
              <a:gd name="connsiteY35" fmla="*/ 64179 h 1672942"/>
              <a:gd name="connsiteX36" fmla="*/ 73394 w 1670028"/>
              <a:gd name="connsiteY36" fmla="*/ 72746 h 1672942"/>
              <a:gd name="connsiteX37" fmla="*/ 73394 w 1670028"/>
              <a:gd name="connsiteY37" fmla="*/ 836590 h 1672942"/>
              <a:gd name="connsiteX38" fmla="*/ 73394 w 1670028"/>
              <a:gd name="connsiteY38" fmla="*/ 1600434 h 1672942"/>
              <a:gd name="connsiteX39" fmla="*/ 84542 w 1670028"/>
              <a:gd name="connsiteY39" fmla="*/ 1609001 h 1672942"/>
              <a:gd name="connsiteX40" fmla="*/ 95663 w 1670028"/>
              <a:gd name="connsiteY40" fmla="*/ 1617540 h 1672942"/>
              <a:gd name="connsiteX41" fmla="*/ 835838 w 1670028"/>
              <a:gd name="connsiteY41" fmla="*/ 1617540 h 1672942"/>
              <a:gd name="connsiteX42" fmla="*/ 1576014 w 1670028"/>
              <a:gd name="connsiteY42" fmla="*/ 1617540 h 1672942"/>
              <a:gd name="connsiteX43" fmla="*/ 182319 w 1670028"/>
              <a:gd name="connsiteY43" fmla="*/ 1422317 h 1672942"/>
              <a:gd name="connsiteX44" fmla="*/ 182319 w 1670028"/>
              <a:gd name="connsiteY44" fmla="*/ 1394419 h 1672942"/>
              <a:gd name="connsiteX45" fmla="*/ 273094 w 1670028"/>
              <a:gd name="connsiteY45" fmla="*/ 1394419 h 1672942"/>
              <a:gd name="connsiteX46" fmla="*/ 363841 w 1670028"/>
              <a:gd name="connsiteY46" fmla="*/ 1394419 h 1672942"/>
              <a:gd name="connsiteX47" fmla="*/ 363841 w 1670028"/>
              <a:gd name="connsiteY47" fmla="*/ 1422317 h 1672942"/>
              <a:gd name="connsiteX48" fmla="*/ 363841 w 1670028"/>
              <a:gd name="connsiteY48" fmla="*/ 1450186 h 1672942"/>
              <a:gd name="connsiteX49" fmla="*/ 273094 w 1670028"/>
              <a:gd name="connsiteY49" fmla="*/ 1450186 h 1672942"/>
              <a:gd name="connsiteX50" fmla="*/ 182319 w 1670028"/>
              <a:gd name="connsiteY50" fmla="*/ 1450186 h 1672942"/>
              <a:gd name="connsiteX51" fmla="*/ 436467 w 1670028"/>
              <a:gd name="connsiteY51" fmla="*/ 1422317 h 1672942"/>
              <a:gd name="connsiteX52" fmla="*/ 436467 w 1670028"/>
              <a:gd name="connsiteY52" fmla="*/ 1394419 h 1672942"/>
              <a:gd name="connsiteX53" fmla="*/ 654316 w 1670028"/>
              <a:gd name="connsiteY53" fmla="*/ 1394419 h 1672942"/>
              <a:gd name="connsiteX54" fmla="*/ 872137 w 1670028"/>
              <a:gd name="connsiteY54" fmla="*/ 1394419 h 1672942"/>
              <a:gd name="connsiteX55" fmla="*/ 872137 w 1670028"/>
              <a:gd name="connsiteY55" fmla="*/ 1422317 h 1672942"/>
              <a:gd name="connsiteX56" fmla="*/ 872137 w 1670028"/>
              <a:gd name="connsiteY56" fmla="*/ 1450186 h 1672942"/>
              <a:gd name="connsiteX57" fmla="*/ 654316 w 1670028"/>
              <a:gd name="connsiteY57" fmla="*/ 1450186 h 1672942"/>
              <a:gd name="connsiteX58" fmla="*/ 436467 w 1670028"/>
              <a:gd name="connsiteY58" fmla="*/ 1450186 h 1672942"/>
              <a:gd name="connsiteX59" fmla="*/ 182319 w 1670028"/>
              <a:gd name="connsiteY59" fmla="*/ 1254962 h 1672942"/>
              <a:gd name="connsiteX60" fmla="*/ 182319 w 1670028"/>
              <a:gd name="connsiteY60" fmla="*/ 1227065 h 1672942"/>
              <a:gd name="connsiteX61" fmla="*/ 327542 w 1670028"/>
              <a:gd name="connsiteY61" fmla="*/ 1227065 h 1672942"/>
              <a:gd name="connsiteX62" fmla="*/ 472766 w 1670028"/>
              <a:gd name="connsiteY62" fmla="*/ 1227065 h 1672942"/>
              <a:gd name="connsiteX63" fmla="*/ 472766 w 1670028"/>
              <a:gd name="connsiteY63" fmla="*/ 1254962 h 1672942"/>
              <a:gd name="connsiteX64" fmla="*/ 472766 w 1670028"/>
              <a:gd name="connsiteY64" fmla="*/ 1282859 h 1672942"/>
              <a:gd name="connsiteX65" fmla="*/ 327542 w 1670028"/>
              <a:gd name="connsiteY65" fmla="*/ 1282859 h 1672942"/>
              <a:gd name="connsiteX66" fmla="*/ 182319 w 1670028"/>
              <a:gd name="connsiteY66" fmla="*/ 1282859 h 1672942"/>
              <a:gd name="connsiteX67" fmla="*/ 545391 w 1670028"/>
              <a:gd name="connsiteY67" fmla="*/ 1254962 h 1672942"/>
              <a:gd name="connsiteX68" fmla="*/ 545391 w 1670028"/>
              <a:gd name="connsiteY68" fmla="*/ 1227065 h 1672942"/>
              <a:gd name="connsiteX69" fmla="*/ 599840 w 1670028"/>
              <a:gd name="connsiteY69" fmla="*/ 1227065 h 1672942"/>
              <a:gd name="connsiteX70" fmla="*/ 654316 w 1670028"/>
              <a:gd name="connsiteY70" fmla="*/ 1227065 h 1672942"/>
              <a:gd name="connsiteX71" fmla="*/ 654316 w 1670028"/>
              <a:gd name="connsiteY71" fmla="*/ 1254962 h 1672942"/>
              <a:gd name="connsiteX72" fmla="*/ 654316 w 1670028"/>
              <a:gd name="connsiteY72" fmla="*/ 1282859 h 1672942"/>
              <a:gd name="connsiteX73" fmla="*/ 599840 w 1670028"/>
              <a:gd name="connsiteY73" fmla="*/ 1282859 h 1672942"/>
              <a:gd name="connsiteX74" fmla="*/ 545391 w 1670028"/>
              <a:gd name="connsiteY74" fmla="*/ 1282859 h 1672942"/>
              <a:gd name="connsiteX75" fmla="*/ 726914 w 1670028"/>
              <a:gd name="connsiteY75" fmla="*/ 1254962 h 1672942"/>
              <a:gd name="connsiteX76" fmla="*/ 726914 w 1670028"/>
              <a:gd name="connsiteY76" fmla="*/ 1227065 h 1672942"/>
              <a:gd name="connsiteX77" fmla="*/ 962912 w 1670028"/>
              <a:gd name="connsiteY77" fmla="*/ 1227065 h 1672942"/>
              <a:gd name="connsiteX78" fmla="*/ 1198911 w 1670028"/>
              <a:gd name="connsiteY78" fmla="*/ 1227065 h 1672942"/>
              <a:gd name="connsiteX79" fmla="*/ 1198911 w 1670028"/>
              <a:gd name="connsiteY79" fmla="*/ 1254962 h 1672942"/>
              <a:gd name="connsiteX80" fmla="*/ 1198911 w 1670028"/>
              <a:gd name="connsiteY80" fmla="*/ 1282859 h 1672942"/>
              <a:gd name="connsiteX81" fmla="*/ 962912 w 1670028"/>
              <a:gd name="connsiteY81" fmla="*/ 1282859 h 1672942"/>
              <a:gd name="connsiteX82" fmla="*/ 726914 w 1670028"/>
              <a:gd name="connsiteY82" fmla="*/ 1282859 h 1672942"/>
              <a:gd name="connsiteX83" fmla="*/ 1271536 w 1670028"/>
              <a:gd name="connsiteY83" fmla="*/ 1254962 h 1672942"/>
              <a:gd name="connsiteX84" fmla="*/ 1271536 w 1670028"/>
              <a:gd name="connsiteY84" fmla="*/ 1227065 h 1672942"/>
              <a:gd name="connsiteX85" fmla="*/ 1380461 w 1670028"/>
              <a:gd name="connsiteY85" fmla="*/ 1227065 h 1672942"/>
              <a:gd name="connsiteX86" fmla="*/ 1489358 w 1670028"/>
              <a:gd name="connsiteY86" fmla="*/ 1227065 h 1672942"/>
              <a:gd name="connsiteX87" fmla="*/ 1489358 w 1670028"/>
              <a:gd name="connsiteY87" fmla="*/ 1254962 h 1672942"/>
              <a:gd name="connsiteX88" fmla="*/ 1489358 w 1670028"/>
              <a:gd name="connsiteY88" fmla="*/ 1282859 h 1672942"/>
              <a:gd name="connsiteX89" fmla="*/ 1380461 w 1670028"/>
              <a:gd name="connsiteY89" fmla="*/ 1282859 h 1672942"/>
              <a:gd name="connsiteX90" fmla="*/ 1271536 w 1670028"/>
              <a:gd name="connsiteY90" fmla="*/ 1282859 h 1672942"/>
              <a:gd name="connsiteX91" fmla="*/ 182319 w 1670028"/>
              <a:gd name="connsiteY91" fmla="*/ 1087608 h 1672942"/>
              <a:gd name="connsiteX92" fmla="*/ 182319 w 1670028"/>
              <a:gd name="connsiteY92" fmla="*/ 1059711 h 1672942"/>
              <a:gd name="connsiteX93" fmla="*/ 254944 w 1670028"/>
              <a:gd name="connsiteY93" fmla="*/ 1059711 h 1672942"/>
              <a:gd name="connsiteX94" fmla="*/ 327542 w 1670028"/>
              <a:gd name="connsiteY94" fmla="*/ 1059711 h 1672942"/>
              <a:gd name="connsiteX95" fmla="*/ 327542 w 1670028"/>
              <a:gd name="connsiteY95" fmla="*/ 1087608 h 1672942"/>
              <a:gd name="connsiteX96" fmla="*/ 327542 w 1670028"/>
              <a:gd name="connsiteY96" fmla="*/ 1115505 h 1672942"/>
              <a:gd name="connsiteX97" fmla="*/ 254944 w 1670028"/>
              <a:gd name="connsiteY97" fmla="*/ 1115505 h 1672942"/>
              <a:gd name="connsiteX98" fmla="*/ 182319 w 1670028"/>
              <a:gd name="connsiteY98" fmla="*/ 1115505 h 1672942"/>
              <a:gd name="connsiteX99" fmla="*/ 400168 w 1670028"/>
              <a:gd name="connsiteY99" fmla="*/ 1087608 h 1672942"/>
              <a:gd name="connsiteX100" fmla="*/ 400168 w 1670028"/>
              <a:gd name="connsiteY100" fmla="*/ 1059711 h 1672942"/>
              <a:gd name="connsiteX101" fmla="*/ 708765 w 1670028"/>
              <a:gd name="connsiteY101" fmla="*/ 1059711 h 1672942"/>
              <a:gd name="connsiteX102" fmla="*/ 1017388 w 1670028"/>
              <a:gd name="connsiteY102" fmla="*/ 1059711 h 1672942"/>
              <a:gd name="connsiteX103" fmla="*/ 1017388 w 1670028"/>
              <a:gd name="connsiteY103" fmla="*/ 1087608 h 1672942"/>
              <a:gd name="connsiteX104" fmla="*/ 1017388 w 1670028"/>
              <a:gd name="connsiteY104" fmla="*/ 1115505 h 1672942"/>
              <a:gd name="connsiteX105" fmla="*/ 708765 w 1670028"/>
              <a:gd name="connsiteY105" fmla="*/ 1115505 h 1672942"/>
              <a:gd name="connsiteX106" fmla="*/ 400168 w 1670028"/>
              <a:gd name="connsiteY106" fmla="*/ 1115505 h 1672942"/>
              <a:gd name="connsiteX107" fmla="*/ 1089986 w 1670028"/>
              <a:gd name="connsiteY107" fmla="*/ 1087608 h 1672942"/>
              <a:gd name="connsiteX108" fmla="*/ 1089986 w 1670028"/>
              <a:gd name="connsiteY108" fmla="*/ 1059711 h 1672942"/>
              <a:gd name="connsiteX109" fmla="*/ 1289686 w 1670028"/>
              <a:gd name="connsiteY109" fmla="*/ 1059711 h 1672942"/>
              <a:gd name="connsiteX110" fmla="*/ 1489358 w 1670028"/>
              <a:gd name="connsiteY110" fmla="*/ 1059711 h 1672942"/>
              <a:gd name="connsiteX111" fmla="*/ 1489358 w 1670028"/>
              <a:gd name="connsiteY111" fmla="*/ 1087608 h 1672942"/>
              <a:gd name="connsiteX112" fmla="*/ 1489358 w 1670028"/>
              <a:gd name="connsiteY112" fmla="*/ 1115505 h 1672942"/>
              <a:gd name="connsiteX113" fmla="*/ 1289686 w 1670028"/>
              <a:gd name="connsiteY113" fmla="*/ 1115505 h 1672942"/>
              <a:gd name="connsiteX114" fmla="*/ 1089986 w 1670028"/>
              <a:gd name="connsiteY114" fmla="*/ 1115505 h 1672942"/>
              <a:gd name="connsiteX115" fmla="*/ 182319 w 1670028"/>
              <a:gd name="connsiteY115" fmla="*/ 920253 h 1672942"/>
              <a:gd name="connsiteX116" fmla="*/ 182319 w 1670028"/>
              <a:gd name="connsiteY116" fmla="*/ 892356 h 1672942"/>
              <a:gd name="connsiteX117" fmla="*/ 345692 w 1670028"/>
              <a:gd name="connsiteY117" fmla="*/ 892356 h 1672942"/>
              <a:gd name="connsiteX118" fmla="*/ 509092 w 1670028"/>
              <a:gd name="connsiteY118" fmla="*/ 892356 h 1672942"/>
              <a:gd name="connsiteX119" fmla="*/ 509092 w 1670028"/>
              <a:gd name="connsiteY119" fmla="*/ 920253 h 1672942"/>
              <a:gd name="connsiteX120" fmla="*/ 509092 w 1670028"/>
              <a:gd name="connsiteY120" fmla="*/ 948150 h 1672942"/>
              <a:gd name="connsiteX121" fmla="*/ 345692 w 1670028"/>
              <a:gd name="connsiteY121" fmla="*/ 948150 h 1672942"/>
              <a:gd name="connsiteX122" fmla="*/ 182319 w 1670028"/>
              <a:gd name="connsiteY122" fmla="*/ 948150 h 1672942"/>
              <a:gd name="connsiteX123" fmla="*/ 581690 w 1670028"/>
              <a:gd name="connsiteY123" fmla="*/ 920253 h 1672942"/>
              <a:gd name="connsiteX124" fmla="*/ 581690 w 1670028"/>
              <a:gd name="connsiteY124" fmla="*/ 892356 h 1672942"/>
              <a:gd name="connsiteX125" fmla="*/ 926613 w 1670028"/>
              <a:gd name="connsiteY125" fmla="*/ 892356 h 1672942"/>
              <a:gd name="connsiteX126" fmla="*/ 1271536 w 1670028"/>
              <a:gd name="connsiteY126" fmla="*/ 892356 h 1672942"/>
              <a:gd name="connsiteX127" fmla="*/ 1271536 w 1670028"/>
              <a:gd name="connsiteY127" fmla="*/ 920253 h 1672942"/>
              <a:gd name="connsiteX128" fmla="*/ 1271536 w 1670028"/>
              <a:gd name="connsiteY128" fmla="*/ 948150 h 1672942"/>
              <a:gd name="connsiteX129" fmla="*/ 926613 w 1670028"/>
              <a:gd name="connsiteY129" fmla="*/ 948150 h 1672942"/>
              <a:gd name="connsiteX130" fmla="*/ 581690 w 1670028"/>
              <a:gd name="connsiteY130" fmla="*/ 948150 h 1672942"/>
              <a:gd name="connsiteX131" fmla="*/ 1344134 w 1670028"/>
              <a:gd name="connsiteY131" fmla="*/ 920253 h 1672942"/>
              <a:gd name="connsiteX132" fmla="*/ 1344134 w 1670028"/>
              <a:gd name="connsiteY132" fmla="*/ 892356 h 1672942"/>
              <a:gd name="connsiteX133" fmla="*/ 1416760 w 1670028"/>
              <a:gd name="connsiteY133" fmla="*/ 892356 h 1672942"/>
              <a:gd name="connsiteX134" fmla="*/ 1489358 w 1670028"/>
              <a:gd name="connsiteY134" fmla="*/ 892356 h 1672942"/>
              <a:gd name="connsiteX135" fmla="*/ 1489358 w 1670028"/>
              <a:gd name="connsiteY135" fmla="*/ 920253 h 1672942"/>
              <a:gd name="connsiteX136" fmla="*/ 1489358 w 1670028"/>
              <a:gd name="connsiteY136" fmla="*/ 948150 h 1672942"/>
              <a:gd name="connsiteX137" fmla="*/ 1416760 w 1670028"/>
              <a:gd name="connsiteY137" fmla="*/ 948150 h 1672942"/>
              <a:gd name="connsiteX138" fmla="*/ 1344134 w 1670028"/>
              <a:gd name="connsiteY138" fmla="*/ 948150 h 1672942"/>
              <a:gd name="connsiteX139" fmla="*/ 182319 w 1670028"/>
              <a:gd name="connsiteY139" fmla="*/ 752899 h 1672942"/>
              <a:gd name="connsiteX140" fmla="*/ 182319 w 1670028"/>
              <a:gd name="connsiteY140" fmla="*/ 725029 h 1672942"/>
              <a:gd name="connsiteX141" fmla="*/ 236767 w 1670028"/>
              <a:gd name="connsiteY141" fmla="*/ 725029 h 1672942"/>
              <a:gd name="connsiteX142" fmla="*/ 291243 w 1670028"/>
              <a:gd name="connsiteY142" fmla="*/ 725029 h 1672942"/>
              <a:gd name="connsiteX143" fmla="*/ 291243 w 1670028"/>
              <a:gd name="connsiteY143" fmla="*/ 752899 h 1672942"/>
              <a:gd name="connsiteX144" fmla="*/ 291243 w 1670028"/>
              <a:gd name="connsiteY144" fmla="*/ 780796 h 1672942"/>
              <a:gd name="connsiteX145" fmla="*/ 236767 w 1670028"/>
              <a:gd name="connsiteY145" fmla="*/ 780796 h 1672942"/>
              <a:gd name="connsiteX146" fmla="*/ 182319 w 1670028"/>
              <a:gd name="connsiteY146" fmla="*/ 780796 h 1672942"/>
              <a:gd name="connsiteX147" fmla="*/ 363841 w 1670028"/>
              <a:gd name="connsiteY147" fmla="*/ 752899 h 1672942"/>
              <a:gd name="connsiteX148" fmla="*/ 363841 w 1670028"/>
              <a:gd name="connsiteY148" fmla="*/ 725029 h 1672942"/>
              <a:gd name="connsiteX149" fmla="*/ 617989 w 1670028"/>
              <a:gd name="connsiteY149" fmla="*/ 725029 h 1672942"/>
              <a:gd name="connsiteX150" fmla="*/ 872137 w 1670028"/>
              <a:gd name="connsiteY150" fmla="*/ 725029 h 1672942"/>
              <a:gd name="connsiteX151" fmla="*/ 872137 w 1670028"/>
              <a:gd name="connsiteY151" fmla="*/ 752899 h 1672942"/>
              <a:gd name="connsiteX152" fmla="*/ 872137 w 1670028"/>
              <a:gd name="connsiteY152" fmla="*/ 780796 h 1672942"/>
              <a:gd name="connsiteX153" fmla="*/ 617989 w 1670028"/>
              <a:gd name="connsiteY153" fmla="*/ 780796 h 1672942"/>
              <a:gd name="connsiteX154" fmla="*/ 363841 w 1670028"/>
              <a:gd name="connsiteY154" fmla="*/ 780796 h 1672942"/>
              <a:gd name="connsiteX155" fmla="*/ 944763 w 1670028"/>
              <a:gd name="connsiteY155" fmla="*/ 752899 h 1672942"/>
              <a:gd name="connsiteX156" fmla="*/ 944763 w 1670028"/>
              <a:gd name="connsiteY156" fmla="*/ 725029 h 1672942"/>
              <a:gd name="connsiteX157" fmla="*/ 1217060 w 1670028"/>
              <a:gd name="connsiteY157" fmla="*/ 725029 h 1672942"/>
              <a:gd name="connsiteX158" fmla="*/ 1489358 w 1670028"/>
              <a:gd name="connsiteY158" fmla="*/ 725029 h 1672942"/>
              <a:gd name="connsiteX159" fmla="*/ 1489358 w 1670028"/>
              <a:gd name="connsiteY159" fmla="*/ 752899 h 1672942"/>
              <a:gd name="connsiteX160" fmla="*/ 1489358 w 1670028"/>
              <a:gd name="connsiteY160" fmla="*/ 780796 h 1672942"/>
              <a:gd name="connsiteX161" fmla="*/ 1217060 w 1670028"/>
              <a:gd name="connsiteY161" fmla="*/ 780796 h 1672942"/>
              <a:gd name="connsiteX162" fmla="*/ 944763 w 1670028"/>
              <a:gd name="connsiteY162" fmla="*/ 780796 h 1672942"/>
              <a:gd name="connsiteX163" fmla="*/ 509092 w 1670028"/>
              <a:gd name="connsiteY163" fmla="*/ 585572 h 1672942"/>
              <a:gd name="connsiteX164" fmla="*/ 509092 w 1670028"/>
              <a:gd name="connsiteY164" fmla="*/ 557675 h 1672942"/>
              <a:gd name="connsiteX165" fmla="*/ 563541 w 1670028"/>
              <a:gd name="connsiteY165" fmla="*/ 557675 h 1672942"/>
              <a:gd name="connsiteX166" fmla="*/ 617989 w 1670028"/>
              <a:gd name="connsiteY166" fmla="*/ 557675 h 1672942"/>
              <a:gd name="connsiteX167" fmla="*/ 617989 w 1670028"/>
              <a:gd name="connsiteY167" fmla="*/ 585572 h 1672942"/>
              <a:gd name="connsiteX168" fmla="*/ 617989 w 1670028"/>
              <a:gd name="connsiteY168" fmla="*/ 613442 h 1672942"/>
              <a:gd name="connsiteX169" fmla="*/ 563541 w 1670028"/>
              <a:gd name="connsiteY169" fmla="*/ 613442 h 1672942"/>
              <a:gd name="connsiteX170" fmla="*/ 509092 w 1670028"/>
              <a:gd name="connsiteY170" fmla="*/ 613442 h 1672942"/>
              <a:gd name="connsiteX171" fmla="*/ 690615 w 1670028"/>
              <a:gd name="connsiteY171" fmla="*/ 585572 h 1672942"/>
              <a:gd name="connsiteX172" fmla="*/ 690615 w 1670028"/>
              <a:gd name="connsiteY172" fmla="*/ 557675 h 1672942"/>
              <a:gd name="connsiteX173" fmla="*/ 908464 w 1670028"/>
              <a:gd name="connsiteY173" fmla="*/ 557675 h 1672942"/>
              <a:gd name="connsiteX174" fmla="*/ 1126313 w 1670028"/>
              <a:gd name="connsiteY174" fmla="*/ 557675 h 1672942"/>
              <a:gd name="connsiteX175" fmla="*/ 1126313 w 1670028"/>
              <a:gd name="connsiteY175" fmla="*/ 585572 h 1672942"/>
              <a:gd name="connsiteX176" fmla="*/ 1126313 w 1670028"/>
              <a:gd name="connsiteY176" fmla="*/ 613442 h 1672942"/>
              <a:gd name="connsiteX177" fmla="*/ 908464 w 1670028"/>
              <a:gd name="connsiteY177" fmla="*/ 613442 h 1672942"/>
              <a:gd name="connsiteX178" fmla="*/ 690615 w 1670028"/>
              <a:gd name="connsiteY178" fmla="*/ 613442 h 1672942"/>
              <a:gd name="connsiteX179" fmla="*/ 1198911 w 1670028"/>
              <a:gd name="connsiteY179" fmla="*/ 585572 h 1672942"/>
              <a:gd name="connsiteX180" fmla="*/ 1198911 w 1670028"/>
              <a:gd name="connsiteY180" fmla="*/ 557675 h 1672942"/>
              <a:gd name="connsiteX181" fmla="*/ 1344134 w 1670028"/>
              <a:gd name="connsiteY181" fmla="*/ 557675 h 1672942"/>
              <a:gd name="connsiteX182" fmla="*/ 1489358 w 1670028"/>
              <a:gd name="connsiteY182" fmla="*/ 557675 h 1672942"/>
              <a:gd name="connsiteX183" fmla="*/ 1489358 w 1670028"/>
              <a:gd name="connsiteY183" fmla="*/ 585572 h 1672942"/>
              <a:gd name="connsiteX184" fmla="*/ 1489358 w 1670028"/>
              <a:gd name="connsiteY184" fmla="*/ 613442 h 1672942"/>
              <a:gd name="connsiteX185" fmla="*/ 1344134 w 1670028"/>
              <a:gd name="connsiteY185" fmla="*/ 613442 h 1672942"/>
              <a:gd name="connsiteX186" fmla="*/ 1198911 w 1670028"/>
              <a:gd name="connsiteY186" fmla="*/ 613442 h 1672942"/>
              <a:gd name="connsiteX187" fmla="*/ 193467 w 1670028"/>
              <a:gd name="connsiteY187" fmla="*/ 465445 h 1672942"/>
              <a:gd name="connsiteX188" fmla="*/ 182319 w 1670028"/>
              <a:gd name="connsiteY188" fmla="*/ 456878 h 1672942"/>
              <a:gd name="connsiteX189" fmla="*/ 182319 w 1670028"/>
              <a:gd name="connsiteY189" fmla="*/ 334527 h 1672942"/>
              <a:gd name="connsiteX190" fmla="*/ 182319 w 1670028"/>
              <a:gd name="connsiteY190" fmla="*/ 212203 h 1672942"/>
              <a:gd name="connsiteX191" fmla="*/ 193467 w 1670028"/>
              <a:gd name="connsiteY191" fmla="*/ 203636 h 1672942"/>
              <a:gd name="connsiteX192" fmla="*/ 204587 w 1670028"/>
              <a:gd name="connsiteY192" fmla="*/ 195070 h 1672942"/>
              <a:gd name="connsiteX193" fmla="*/ 363841 w 1670028"/>
              <a:gd name="connsiteY193" fmla="*/ 195070 h 1672942"/>
              <a:gd name="connsiteX194" fmla="*/ 523096 w 1670028"/>
              <a:gd name="connsiteY194" fmla="*/ 195070 h 1672942"/>
              <a:gd name="connsiteX195" fmla="*/ 534244 w 1670028"/>
              <a:gd name="connsiteY195" fmla="*/ 203636 h 1672942"/>
              <a:gd name="connsiteX196" fmla="*/ 545391 w 1670028"/>
              <a:gd name="connsiteY196" fmla="*/ 212203 h 1672942"/>
              <a:gd name="connsiteX197" fmla="*/ 545391 w 1670028"/>
              <a:gd name="connsiteY197" fmla="*/ 334527 h 1672942"/>
              <a:gd name="connsiteX198" fmla="*/ 545391 w 1670028"/>
              <a:gd name="connsiteY198" fmla="*/ 456878 h 1672942"/>
              <a:gd name="connsiteX199" fmla="*/ 534244 w 1670028"/>
              <a:gd name="connsiteY199" fmla="*/ 465445 h 1672942"/>
              <a:gd name="connsiteX200" fmla="*/ 523096 w 1670028"/>
              <a:gd name="connsiteY200" fmla="*/ 473984 h 1672942"/>
              <a:gd name="connsiteX201" fmla="*/ 363841 w 1670028"/>
              <a:gd name="connsiteY201" fmla="*/ 473984 h 1672942"/>
              <a:gd name="connsiteX202" fmla="*/ 204587 w 1670028"/>
              <a:gd name="connsiteY202" fmla="*/ 473984 h 1672942"/>
              <a:gd name="connsiteX203" fmla="*/ 472766 w 1670028"/>
              <a:gd name="connsiteY203" fmla="*/ 334527 h 1672942"/>
              <a:gd name="connsiteX204" fmla="*/ 472766 w 1670028"/>
              <a:gd name="connsiteY204" fmla="*/ 250863 h 1672942"/>
              <a:gd name="connsiteX205" fmla="*/ 363841 w 1670028"/>
              <a:gd name="connsiteY205" fmla="*/ 250863 h 1672942"/>
              <a:gd name="connsiteX206" fmla="*/ 254944 w 1670028"/>
              <a:gd name="connsiteY206" fmla="*/ 250863 h 1672942"/>
              <a:gd name="connsiteX207" fmla="*/ 254944 w 1670028"/>
              <a:gd name="connsiteY207" fmla="*/ 334527 h 1672942"/>
              <a:gd name="connsiteX208" fmla="*/ 254944 w 1670028"/>
              <a:gd name="connsiteY208" fmla="*/ 418218 h 1672942"/>
              <a:gd name="connsiteX209" fmla="*/ 363841 w 1670028"/>
              <a:gd name="connsiteY209" fmla="*/ 418218 h 1672942"/>
              <a:gd name="connsiteX210" fmla="*/ 472766 w 1670028"/>
              <a:gd name="connsiteY210" fmla="*/ 418218 h 1672942"/>
              <a:gd name="connsiteX211" fmla="*/ 654316 w 1670028"/>
              <a:gd name="connsiteY211" fmla="*/ 418218 h 1672942"/>
              <a:gd name="connsiteX212" fmla="*/ 654316 w 1670028"/>
              <a:gd name="connsiteY212" fmla="*/ 390321 h 1672942"/>
              <a:gd name="connsiteX213" fmla="*/ 817689 w 1670028"/>
              <a:gd name="connsiteY213" fmla="*/ 390321 h 1672942"/>
              <a:gd name="connsiteX214" fmla="*/ 981062 w 1670028"/>
              <a:gd name="connsiteY214" fmla="*/ 390321 h 1672942"/>
              <a:gd name="connsiteX215" fmla="*/ 981062 w 1670028"/>
              <a:gd name="connsiteY215" fmla="*/ 418218 h 1672942"/>
              <a:gd name="connsiteX216" fmla="*/ 981062 w 1670028"/>
              <a:gd name="connsiteY216" fmla="*/ 446115 h 1672942"/>
              <a:gd name="connsiteX217" fmla="*/ 817689 w 1670028"/>
              <a:gd name="connsiteY217" fmla="*/ 446115 h 1672942"/>
              <a:gd name="connsiteX218" fmla="*/ 654316 w 1670028"/>
              <a:gd name="connsiteY218" fmla="*/ 446115 h 1672942"/>
              <a:gd name="connsiteX219" fmla="*/ 654316 w 1670028"/>
              <a:gd name="connsiteY219" fmla="*/ 250863 h 1672942"/>
              <a:gd name="connsiteX220" fmla="*/ 654316 w 1670028"/>
              <a:gd name="connsiteY220" fmla="*/ 222966 h 1672942"/>
              <a:gd name="connsiteX221" fmla="*/ 690615 w 1670028"/>
              <a:gd name="connsiteY221" fmla="*/ 222966 h 1672942"/>
              <a:gd name="connsiteX222" fmla="*/ 726914 w 1670028"/>
              <a:gd name="connsiteY222" fmla="*/ 222966 h 1672942"/>
              <a:gd name="connsiteX223" fmla="*/ 726914 w 1670028"/>
              <a:gd name="connsiteY223" fmla="*/ 250863 h 1672942"/>
              <a:gd name="connsiteX224" fmla="*/ 726914 w 1670028"/>
              <a:gd name="connsiteY224" fmla="*/ 278760 h 1672942"/>
              <a:gd name="connsiteX225" fmla="*/ 690615 w 1670028"/>
              <a:gd name="connsiteY225" fmla="*/ 278760 h 1672942"/>
              <a:gd name="connsiteX226" fmla="*/ 654316 w 1670028"/>
              <a:gd name="connsiteY226" fmla="*/ 278760 h 1672942"/>
              <a:gd name="connsiteX227" fmla="*/ 799540 w 1670028"/>
              <a:gd name="connsiteY227" fmla="*/ 250863 h 1672942"/>
              <a:gd name="connsiteX228" fmla="*/ 799540 w 1670028"/>
              <a:gd name="connsiteY228" fmla="*/ 222966 h 1672942"/>
              <a:gd name="connsiteX229" fmla="*/ 890315 w 1670028"/>
              <a:gd name="connsiteY229" fmla="*/ 222966 h 1672942"/>
              <a:gd name="connsiteX230" fmla="*/ 981062 w 1670028"/>
              <a:gd name="connsiteY230" fmla="*/ 222966 h 1672942"/>
              <a:gd name="connsiteX231" fmla="*/ 981062 w 1670028"/>
              <a:gd name="connsiteY231" fmla="*/ 250863 h 1672942"/>
              <a:gd name="connsiteX232" fmla="*/ 981062 w 1670028"/>
              <a:gd name="connsiteY232" fmla="*/ 278760 h 1672942"/>
              <a:gd name="connsiteX233" fmla="*/ 890315 w 1670028"/>
              <a:gd name="connsiteY233" fmla="*/ 278760 h 1672942"/>
              <a:gd name="connsiteX234" fmla="*/ 799540 w 1670028"/>
              <a:gd name="connsiteY234" fmla="*/ 278760 h 16729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</a:cxnLst>
            <a:rect l="l" t="t" r="r" b="b"/>
            <a:pathLst>
              <a:path w="1670028" h="1672942">
                <a:moveTo>
                  <a:pt x="66338" y="1665042"/>
                </a:moveTo>
                <a:cubicBezTo>
                  <a:pt x="39512" y="1655459"/>
                  <a:pt x="13509" y="1633685"/>
                  <a:pt x="6041" y="1614547"/>
                </a:cubicBezTo>
                <a:cubicBezTo>
                  <a:pt x="-1757" y="1594558"/>
                  <a:pt x="-1510" y="78073"/>
                  <a:pt x="6288" y="57781"/>
                </a:cubicBezTo>
                <a:cubicBezTo>
                  <a:pt x="14086" y="37517"/>
                  <a:pt x="51373" y="9456"/>
                  <a:pt x="77925" y="3882"/>
                </a:cubicBezTo>
                <a:cubicBezTo>
                  <a:pt x="93686" y="560"/>
                  <a:pt x="216037" y="-182"/>
                  <a:pt x="613459" y="587"/>
                </a:cubicBezTo>
                <a:cubicBezTo>
                  <a:pt x="1104841" y="1521"/>
                  <a:pt x="1129306" y="1877"/>
                  <a:pt x="1144435" y="8055"/>
                </a:cubicBezTo>
                <a:cubicBezTo>
                  <a:pt x="1166346" y="16952"/>
                  <a:pt x="1641336" y="381287"/>
                  <a:pt x="1656465" y="400782"/>
                </a:cubicBezTo>
                <a:lnTo>
                  <a:pt x="1668629" y="416461"/>
                </a:lnTo>
                <a:lnTo>
                  <a:pt x="1669864" y="1009161"/>
                </a:lnTo>
                <a:cubicBezTo>
                  <a:pt x="1671018" y="1552603"/>
                  <a:pt x="1670496" y="1603125"/>
                  <a:pt x="1663659" y="1617046"/>
                </a:cubicBezTo>
                <a:cubicBezTo>
                  <a:pt x="1653307" y="1638024"/>
                  <a:pt x="1632028" y="1655514"/>
                  <a:pt x="1605119" y="1665125"/>
                </a:cubicBezTo>
                <a:lnTo>
                  <a:pt x="1582412" y="1673252"/>
                </a:lnTo>
                <a:lnTo>
                  <a:pt x="835838" y="1673252"/>
                </a:lnTo>
                <a:lnTo>
                  <a:pt x="89265" y="1673252"/>
                </a:lnTo>
                <a:close/>
                <a:moveTo>
                  <a:pt x="1587162" y="1608974"/>
                </a:moveTo>
                <a:lnTo>
                  <a:pt x="1598282" y="1600434"/>
                </a:lnTo>
                <a:lnTo>
                  <a:pt x="1598282" y="1015504"/>
                </a:lnTo>
                <a:lnTo>
                  <a:pt x="1598282" y="430574"/>
                </a:lnTo>
                <a:lnTo>
                  <a:pt x="1380461" y="263137"/>
                </a:lnTo>
                <a:lnTo>
                  <a:pt x="1162639" y="95728"/>
                </a:lnTo>
                <a:lnTo>
                  <a:pt x="1162612" y="234471"/>
                </a:lnTo>
                <a:lnTo>
                  <a:pt x="1162612" y="373215"/>
                </a:lnTo>
                <a:lnTo>
                  <a:pt x="1173732" y="381754"/>
                </a:lnTo>
                <a:lnTo>
                  <a:pt x="1184880" y="390321"/>
                </a:lnTo>
                <a:lnTo>
                  <a:pt x="1318983" y="390321"/>
                </a:lnTo>
                <a:lnTo>
                  <a:pt x="1453059" y="390321"/>
                </a:lnTo>
                <a:lnTo>
                  <a:pt x="1453059" y="418218"/>
                </a:lnTo>
                <a:lnTo>
                  <a:pt x="1453059" y="446115"/>
                </a:lnTo>
                <a:lnTo>
                  <a:pt x="1315771" y="446087"/>
                </a:lnTo>
                <a:cubicBezTo>
                  <a:pt x="1181173" y="446060"/>
                  <a:pt x="1178043" y="445895"/>
                  <a:pt x="1155555" y="437823"/>
                </a:cubicBezTo>
                <a:cubicBezTo>
                  <a:pt x="1128702" y="428240"/>
                  <a:pt x="1102727" y="406466"/>
                  <a:pt x="1095258" y="387328"/>
                </a:cubicBezTo>
                <a:cubicBezTo>
                  <a:pt x="1091606" y="377938"/>
                  <a:pt x="1089986" y="325384"/>
                  <a:pt x="1089986" y="214729"/>
                </a:cubicBezTo>
                <a:lnTo>
                  <a:pt x="1089986" y="55640"/>
                </a:lnTo>
                <a:lnTo>
                  <a:pt x="592838" y="55640"/>
                </a:lnTo>
                <a:lnTo>
                  <a:pt x="95663" y="55640"/>
                </a:lnTo>
                <a:lnTo>
                  <a:pt x="84542" y="64179"/>
                </a:lnTo>
                <a:lnTo>
                  <a:pt x="73394" y="72746"/>
                </a:lnTo>
                <a:lnTo>
                  <a:pt x="73394" y="836590"/>
                </a:lnTo>
                <a:lnTo>
                  <a:pt x="73394" y="1600434"/>
                </a:lnTo>
                <a:lnTo>
                  <a:pt x="84542" y="1609001"/>
                </a:lnTo>
                <a:lnTo>
                  <a:pt x="95663" y="1617540"/>
                </a:lnTo>
                <a:lnTo>
                  <a:pt x="835838" y="1617540"/>
                </a:lnTo>
                <a:lnTo>
                  <a:pt x="1576014" y="1617540"/>
                </a:lnTo>
                <a:close/>
                <a:moveTo>
                  <a:pt x="182319" y="1422317"/>
                </a:moveTo>
                <a:lnTo>
                  <a:pt x="182319" y="1394419"/>
                </a:lnTo>
                <a:lnTo>
                  <a:pt x="273094" y="1394419"/>
                </a:lnTo>
                <a:lnTo>
                  <a:pt x="363841" y="1394419"/>
                </a:lnTo>
                <a:lnTo>
                  <a:pt x="363841" y="1422317"/>
                </a:lnTo>
                <a:lnTo>
                  <a:pt x="363841" y="1450186"/>
                </a:lnTo>
                <a:lnTo>
                  <a:pt x="273094" y="1450186"/>
                </a:lnTo>
                <a:lnTo>
                  <a:pt x="182319" y="1450186"/>
                </a:lnTo>
                <a:close/>
                <a:moveTo>
                  <a:pt x="436467" y="1422317"/>
                </a:moveTo>
                <a:lnTo>
                  <a:pt x="436467" y="1394419"/>
                </a:lnTo>
                <a:lnTo>
                  <a:pt x="654316" y="1394419"/>
                </a:lnTo>
                <a:lnTo>
                  <a:pt x="872137" y="1394419"/>
                </a:lnTo>
                <a:lnTo>
                  <a:pt x="872137" y="1422317"/>
                </a:lnTo>
                <a:lnTo>
                  <a:pt x="872137" y="1450186"/>
                </a:lnTo>
                <a:lnTo>
                  <a:pt x="654316" y="1450186"/>
                </a:lnTo>
                <a:lnTo>
                  <a:pt x="436467" y="1450186"/>
                </a:lnTo>
                <a:close/>
                <a:moveTo>
                  <a:pt x="182319" y="1254962"/>
                </a:moveTo>
                <a:lnTo>
                  <a:pt x="182319" y="1227065"/>
                </a:lnTo>
                <a:lnTo>
                  <a:pt x="327542" y="1227065"/>
                </a:lnTo>
                <a:lnTo>
                  <a:pt x="472766" y="1227065"/>
                </a:lnTo>
                <a:lnTo>
                  <a:pt x="472766" y="1254962"/>
                </a:lnTo>
                <a:lnTo>
                  <a:pt x="472766" y="1282859"/>
                </a:lnTo>
                <a:lnTo>
                  <a:pt x="327542" y="1282859"/>
                </a:lnTo>
                <a:lnTo>
                  <a:pt x="182319" y="1282859"/>
                </a:lnTo>
                <a:close/>
                <a:moveTo>
                  <a:pt x="545391" y="1254962"/>
                </a:moveTo>
                <a:lnTo>
                  <a:pt x="545391" y="1227065"/>
                </a:lnTo>
                <a:lnTo>
                  <a:pt x="599840" y="1227065"/>
                </a:lnTo>
                <a:lnTo>
                  <a:pt x="654316" y="1227065"/>
                </a:lnTo>
                <a:lnTo>
                  <a:pt x="654316" y="1254962"/>
                </a:lnTo>
                <a:lnTo>
                  <a:pt x="654316" y="1282859"/>
                </a:lnTo>
                <a:lnTo>
                  <a:pt x="599840" y="1282859"/>
                </a:lnTo>
                <a:lnTo>
                  <a:pt x="545391" y="1282859"/>
                </a:lnTo>
                <a:close/>
                <a:moveTo>
                  <a:pt x="726914" y="1254962"/>
                </a:moveTo>
                <a:lnTo>
                  <a:pt x="726914" y="1227065"/>
                </a:lnTo>
                <a:lnTo>
                  <a:pt x="962912" y="1227065"/>
                </a:lnTo>
                <a:lnTo>
                  <a:pt x="1198911" y="1227065"/>
                </a:lnTo>
                <a:lnTo>
                  <a:pt x="1198911" y="1254962"/>
                </a:lnTo>
                <a:lnTo>
                  <a:pt x="1198911" y="1282859"/>
                </a:lnTo>
                <a:lnTo>
                  <a:pt x="962912" y="1282859"/>
                </a:lnTo>
                <a:lnTo>
                  <a:pt x="726914" y="1282859"/>
                </a:lnTo>
                <a:close/>
                <a:moveTo>
                  <a:pt x="1271536" y="1254962"/>
                </a:moveTo>
                <a:lnTo>
                  <a:pt x="1271536" y="1227065"/>
                </a:lnTo>
                <a:lnTo>
                  <a:pt x="1380461" y="1227065"/>
                </a:lnTo>
                <a:lnTo>
                  <a:pt x="1489358" y="1227065"/>
                </a:lnTo>
                <a:lnTo>
                  <a:pt x="1489358" y="1254962"/>
                </a:lnTo>
                <a:lnTo>
                  <a:pt x="1489358" y="1282859"/>
                </a:lnTo>
                <a:lnTo>
                  <a:pt x="1380461" y="1282859"/>
                </a:lnTo>
                <a:lnTo>
                  <a:pt x="1271536" y="1282859"/>
                </a:lnTo>
                <a:close/>
                <a:moveTo>
                  <a:pt x="182319" y="1087608"/>
                </a:moveTo>
                <a:lnTo>
                  <a:pt x="182319" y="1059711"/>
                </a:lnTo>
                <a:lnTo>
                  <a:pt x="254944" y="1059711"/>
                </a:lnTo>
                <a:lnTo>
                  <a:pt x="327542" y="1059711"/>
                </a:lnTo>
                <a:lnTo>
                  <a:pt x="327542" y="1087608"/>
                </a:lnTo>
                <a:lnTo>
                  <a:pt x="327542" y="1115505"/>
                </a:lnTo>
                <a:lnTo>
                  <a:pt x="254944" y="1115505"/>
                </a:lnTo>
                <a:lnTo>
                  <a:pt x="182319" y="1115505"/>
                </a:lnTo>
                <a:close/>
                <a:moveTo>
                  <a:pt x="400168" y="1087608"/>
                </a:moveTo>
                <a:lnTo>
                  <a:pt x="400168" y="1059711"/>
                </a:lnTo>
                <a:lnTo>
                  <a:pt x="708765" y="1059711"/>
                </a:lnTo>
                <a:lnTo>
                  <a:pt x="1017388" y="1059711"/>
                </a:lnTo>
                <a:lnTo>
                  <a:pt x="1017388" y="1087608"/>
                </a:lnTo>
                <a:lnTo>
                  <a:pt x="1017388" y="1115505"/>
                </a:lnTo>
                <a:lnTo>
                  <a:pt x="708765" y="1115505"/>
                </a:lnTo>
                <a:lnTo>
                  <a:pt x="400168" y="1115505"/>
                </a:lnTo>
                <a:close/>
                <a:moveTo>
                  <a:pt x="1089986" y="1087608"/>
                </a:moveTo>
                <a:lnTo>
                  <a:pt x="1089986" y="1059711"/>
                </a:lnTo>
                <a:lnTo>
                  <a:pt x="1289686" y="1059711"/>
                </a:lnTo>
                <a:lnTo>
                  <a:pt x="1489358" y="1059711"/>
                </a:lnTo>
                <a:lnTo>
                  <a:pt x="1489358" y="1087608"/>
                </a:lnTo>
                <a:lnTo>
                  <a:pt x="1489358" y="1115505"/>
                </a:lnTo>
                <a:lnTo>
                  <a:pt x="1289686" y="1115505"/>
                </a:lnTo>
                <a:lnTo>
                  <a:pt x="1089986" y="1115505"/>
                </a:lnTo>
                <a:close/>
                <a:moveTo>
                  <a:pt x="182319" y="920253"/>
                </a:moveTo>
                <a:lnTo>
                  <a:pt x="182319" y="892356"/>
                </a:lnTo>
                <a:lnTo>
                  <a:pt x="345692" y="892356"/>
                </a:lnTo>
                <a:lnTo>
                  <a:pt x="509092" y="892356"/>
                </a:lnTo>
                <a:lnTo>
                  <a:pt x="509092" y="920253"/>
                </a:lnTo>
                <a:lnTo>
                  <a:pt x="509092" y="948150"/>
                </a:lnTo>
                <a:lnTo>
                  <a:pt x="345692" y="948150"/>
                </a:lnTo>
                <a:lnTo>
                  <a:pt x="182319" y="948150"/>
                </a:lnTo>
                <a:close/>
                <a:moveTo>
                  <a:pt x="581690" y="920253"/>
                </a:moveTo>
                <a:lnTo>
                  <a:pt x="581690" y="892356"/>
                </a:lnTo>
                <a:lnTo>
                  <a:pt x="926613" y="892356"/>
                </a:lnTo>
                <a:lnTo>
                  <a:pt x="1271536" y="892356"/>
                </a:lnTo>
                <a:lnTo>
                  <a:pt x="1271536" y="920253"/>
                </a:lnTo>
                <a:lnTo>
                  <a:pt x="1271536" y="948150"/>
                </a:lnTo>
                <a:lnTo>
                  <a:pt x="926613" y="948150"/>
                </a:lnTo>
                <a:lnTo>
                  <a:pt x="581690" y="948150"/>
                </a:lnTo>
                <a:close/>
                <a:moveTo>
                  <a:pt x="1344134" y="920253"/>
                </a:moveTo>
                <a:lnTo>
                  <a:pt x="1344134" y="892356"/>
                </a:lnTo>
                <a:lnTo>
                  <a:pt x="1416760" y="892356"/>
                </a:lnTo>
                <a:lnTo>
                  <a:pt x="1489358" y="892356"/>
                </a:lnTo>
                <a:lnTo>
                  <a:pt x="1489358" y="920253"/>
                </a:lnTo>
                <a:lnTo>
                  <a:pt x="1489358" y="948150"/>
                </a:lnTo>
                <a:lnTo>
                  <a:pt x="1416760" y="948150"/>
                </a:lnTo>
                <a:lnTo>
                  <a:pt x="1344134" y="948150"/>
                </a:lnTo>
                <a:close/>
                <a:moveTo>
                  <a:pt x="182319" y="752899"/>
                </a:moveTo>
                <a:lnTo>
                  <a:pt x="182319" y="725029"/>
                </a:lnTo>
                <a:lnTo>
                  <a:pt x="236767" y="725029"/>
                </a:lnTo>
                <a:lnTo>
                  <a:pt x="291243" y="725029"/>
                </a:lnTo>
                <a:lnTo>
                  <a:pt x="291243" y="752899"/>
                </a:lnTo>
                <a:lnTo>
                  <a:pt x="291243" y="780796"/>
                </a:lnTo>
                <a:lnTo>
                  <a:pt x="236767" y="780796"/>
                </a:lnTo>
                <a:lnTo>
                  <a:pt x="182319" y="780796"/>
                </a:lnTo>
                <a:close/>
                <a:moveTo>
                  <a:pt x="363841" y="752899"/>
                </a:moveTo>
                <a:lnTo>
                  <a:pt x="363841" y="725029"/>
                </a:lnTo>
                <a:lnTo>
                  <a:pt x="617989" y="725029"/>
                </a:lnTo>
                <a:lnTo>
                  <a:pt x="872137" y="725029"/>
                </a:lnTo>
                <a:lnTo>
                  <a:pt x="872137" y="752899"/>
                </a:lnTo>
                <a:lnTo>
                  <a:pt x="872137" y="780796"/>
                </a:lnTo>
                <a:lnTo>
                  <a:pt x="617989" y="780796"/>
                </a:lnTo>
                <a:lnTo>
                  <a:pt x="363841" y="780796"/>
                </a:lnTo>
                <a:close/>
                <a:moveTo>
                  <a:pt x="944763" y="752899"/>
                </a:moveTo>
                <a:lnTo>
                  <a:pt x="944763" y="725029"/>
                </a:lnTo>
                <a:lnTo>
                  <a:pt x="1217060" y="725029"/>
                </a:lnTo>
                <a:lnTo>
                  <a:pt x="1489358" y="725029"/>
                </a:lnTo>
                <a:lnTo>
                  <a:pt x="1489358" y="752899"/>
                </a:lnTo>
                <a:lnTo>
                  <a:pt x="1489358" y="780796"/>
                </a:lnTo>
                <a:lnTo>
                  <a:pt x="1217060" y="780796"/>
                </a:lnTo>
                <a:lnTo>
                  <a:pt x="944763" y="780796"/>
                </a:lnTo>
                <a:close/>
                <a:moveTo>
                  <a:pt x="509092" y="585572"/>
                </a:moveTo>
                <a:lnTo>
                  <a:pt x="509092" y="557675"/>
                </a:lnTo>
                <a:lnTo>
                  <a:pt x="563541" y="557675"/>
                </a:lnTo>
                <a:lnTo>
                  <a:pt x="617989" y="557675"/>
                </a:lnTo>
                <a:lnTo>
                  <a:pt x="617989" y="585572"/>
                </a:lnTo>
                <a:lnTo>
                  <a:pt x="617989" y="613442"/>
                </a:lnTo>
                <a:lnTo>
                  <a:pt x="563541" y="613442"/>
                </a:lnTo>
                <a:lnTo>
                  <a:pt x="509092" y="613442"/>
                </a:lnTo>
                <a:close/>
                <a:moveTo>
                  <a:pt x="690615" y="585572"/>
                </a:moveTo>
                <a:lnTo>
                  <a:pt x="690615" y="557675"/>
                </a:lnTo>
                <a:lnTo>
                  <a:pt x="908464" y="557675"/>
                </a:lnTo>
                <a:lnTo>
                  <a:pt x="1126313" y="557675"/>
                </a:lnTo>
                <a:lnTo>
                  <a:pt x="1126313" y="585572"/>
                </a:lnTo>
                <a:lnTo>
                  <a:pt x="1126313" y="613442"/>
                </a:lnTo>
                <a:lnTo>
                  <a:pt x="908464" y="613442"/>
                </a:lnTo>
                <a:lnTo>
                  <a:pt x="690615" y="613442"/>
                </a:lnTo>
                <a:close/>
                <a:moveTo>
                  <a:pt x="1198911" y="585572"/>
                </a:moveTo>
                <a:lnTo>
                  <a:pt x="1198911" y="557675"/>
                </a:lnTo>
                <a:lnTo>
                  <a:pt x="1344134" y="557675"/>
                </a:lnTo>
                <a:lnTo>
                  <a:pt x="1489358" y="557675"/>
                </a:lnTo>
                <a:lnTo>
                  <a:pt x="1489358" y="585572"/>
                </a:lnTo>
                <a:lnTo>
                  <a:pt x="1489358" y="613442"/>
                </a:lnTo>
                <a:lnTo>
                  <a:pt x="1344134" y="613442"/>
                </a:lnTo>
                <a:lnTo>
                  <a:pt x="1198911" y="613442"/>
                </a:lnTo>
                <a:close/>
                <a:moveTo>
                  <a:pt x="193467" y="465445"/>
                </a:moveTo>
                <a:lnTo>
                  <a:pt x="182319" y="456878"/>
                </a:lnTo>
                <a:lnTo>
                  <a:pt x="182319" y="334527"/>
                </a:lnTo>
                <a:lnTo>
                  <a:pt x="182319" y="212203"/>
                </a:lnTo>
                <a:lnTo>
                  <a:pt x="193467" y="203636"/>
                </a:lnTo>
                <a:lnTo>
                  <a:pt x="204587" y="195070"/>
                </a:lnTo>
                <a:lnTo>
                  <a:pt x="363841" y="195070"/>
                </a:lnTo>
                <a:lnTo>
                  <a:pt x="523096" y="195070"/>
                </a:lnTo>
                <a:lnTo>
                  <a:pt x="534244" y="203636"/>
                </a:lnTo>
                <a:lnTo>
                  <a:pt x="545391" y="212203"/>
                </a:lnTo>
                <a:lnTo>
                  <a:pt x="545391" y="334527"/>
                </a:lnTo>
                <a:lnTo>
                  <a:pt x="545391" y="456878"/>
                </a:lnTo>
                <a:lnTo>
                  <a:pt x="534244" y="465445"/>
                </a:lnTo>
                <a:lnTo>
                  <a:pt x="523096" y="473984"/>
                </a:lnTo>
                <a:lnTo>
                  <a:pt x="363841" y="473984"/>
                </a:lnTo>
                <a:lnTo>
                  <a:pt x="204587" y="473984"/>
                </a:lnTo>
                <a:close/>
                <a:moveTo>
                  <a:pt x="472766" y="334527"/>
                </a:moveTo>
                <a:lnTo>
                  <a:pt x="472766" y="250863"/>
                </a:lnTo>
                <a:lnTo>
                  <a:pt x="363841" y="250863"/>
                </a:lnTo>
                <a:lnTo>
                  <a:pt x="254944" y="250863"/>
                </a:lnTo>
                <a:lnTo>
                  <a:pt x="254944" y="334527"/>
                </a:lnTo>
                <a:lnTo>
                  <a:pt x="254944" y="418218"/>
                </a:lnTo>
                <a:lnTo>
                  <a:pt x="363841" y="418218"/>
                </a:lnTo>
                <a:lnTo>
                  <a:pt x="472766" y="418218"/>
                </a:lnTo>
                <a:close/>
                <a:moveTo>
                  <a:pt x="654316" y="418218"/>
                </a:moveTo>
                <a:lnTo>
                  <a:pt x="654316" y="390321"/>
                </a:lnTo>
                <a:lnTo>
                  <a:pt x="817689" y="390321"/>
                </a:lnTo>
                <a:lnTo>
                  <a:pt x="981062" y="390321"/>
                </a:lnTo>
                <a:lnTo>
                  <a:pt x="981062" y="418218"/>
                </a:lnTo>
                <a:lnTo>
                  <a:pt x="981062" y="446115"/>
                </a:lnTo>
                <a:lnTo>
                  <a:pt x="817689" y="446115"/>
                </a:lnTo>
                <a:lnTo>
                  <a:pt x="654316" y="446115"/>
                </a:lnTo>
                <a:close/>
                <a:moveTo>
                  <a:pt x="654316" y="250863"/>
                </a:moveTo>
                <a:lnTo>
                  <a:pt x="654316" y="222966"/>
                </a:lnTo>
                <a:lnTo>
                  <a:pt x="690615" y="222966"/>
                </a:lnTo>
                <a:lnTo>
                  <a:pt x="726914" y="222966"/>
                </a:lnTo>
                <a:lnTo>
                  <a:pt x="726914" y="250863"/>
                </a:lnTo>
                <a:lnTo>
                  <a:pt x="726914" y="278760"/>
                </a:lnTo>
                <a:lnTo>
                  <a:pt x="690615" y="278760"/>
                </a:lnTo>
                <a:lnTo>
                  <a:pt x="654316" y="278760"/>
                </a:lnTo>
                <a:close/>
                <a:moveTo>
                  <a:pt x="799540" y="250863"/>
                </a:moveTo>
                <a:lnTo>
                  <a:pt x="799540" y="222966"/>
                </a:lnTo>
                <a:lnTo>
                  <a:pt x="890315" y="222966"/>
                </a:lnTo>
                <a:lnTo>
                  <a:pt x="981062" y="222966"/>
                </a:lnTo>
                <a:lnTo>
                  <a:pt x="981062" y="250863"/>
                </a:lnTo>
                <a:lnTo>
                  <a:pt x="981062" y="278760"/>
                </a:lnTo>
                <a:lnTo>
                  <a:pt x="890315" y="278760"/>
                </a:lnTo>
                <a:lnTo>
                  <a:pt x="799540" y="278760"/>
                </a:lnTo>
                <a:close/>
              </a:path>
            </a:pathLst>
          </a:custGeom>
          <a:solidFill>
            <a:schemeClr val="bg1"/>
          </a:solidFill>
          <a:ln w="3969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424BA74C-B9BE-42FE-B617-9A05266A34C4}"/>
              </a:ext>
            </a:extLst>
          </p:cNvPr>
          <p:cNvSpPr/>
          <p:nvPr/>
        </p:nvSpPr>
        <p:spPr>
          <a:xfrm flipH="1">
            <a:off x="4162708" y="3564862"/>
            <a:ext cx="731520" cy="684851"/>
          </a:xfrm>
          <a:prstGeom prst="ellipse">
            <a:avLst/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975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2C152486-ADB8-4828-98A0-E1791F32F691}"/>
              </a:ext>
            </a:extLst>
          </p:cNvPr>
          <p:cNvSpPr/>
          <p:nvPr/>
        </p:nvSpPr>
        <p:spPr>
          <a:xfrm>
            <a:off x="4325268" y="3717051"/>
            <a:ext cx="406400" cy="380473"/>
          </a:xfrm>
          <a:custGeom>
            <a:avLst/>
            <a:gdLst>
              <a:gd name="connsiteX0" fmla="*/ 37730 w 1530952"/>
              <a:gd name="connsiteY0" fmla="*/ 1753860 h 1760177"/>
              <a:gd name="connsiteX1" fmla="*/ 31019 w 1530952"/>
              <a:gd name="connsiteY1" fmla="*/ 1747490 h 1760177"/>
              <a:gd name="connsiteX2" fmla="*/ 30995 w 1530952"/>
              <a:gd name="connsiteY2" fmla="*/ 1137354 h 1760177"/>
              <a:gd name="connsiteX3" fmla="*/ 30970 w 1530952"/>
              <a:gd name="connsiteY3" fmla="*/ 527220 h 1760177"/>
              <a:gd name="connsiteX4" fmla="*/ 19905 w 1530952"/>
              <a:gd name="connsiteY4" fmla="*/ 453653 h 1760177"/>
              <a:gd name="connsiteX5" fmla="*/ 4973 w 1530952"/>
              <a:gd name="connsiteY5" fmla="*/ 297556 h 1760177"/>
              <a:gd name="connsiteX6" fmla="*/ 456695 w 1530952"/>
              <a:gd name="connsiteY6" fmla="*/ 200208 h 1760177"/>
              <a:gd name="connsiteX7" fmla="*/ 757315 w 1530952"/>
              <a:gd name="connsiteY7" fmla="*/ 139886 h 1760177"/>
              <a:gd name="connsiteX8" fmla="*/ 1201915 w 1530952"/>
              <a:gd name="connsiteY8" fmla="*/ 50550 h 1760177"/>
              <a:gd name="connsiteX9" fmla="*/ 1355390 w 1530952"/>
              <a:gd name="connsiteY9" fmla="*/ 19827 h 1760177"/>
              <a:gd name="connsiteX10" fmla="*/ 1458671 w 1530952"/>
              <a:gd name="connsiteY10" fmla="*/ 52 h 1760177"/>
              <a:gd name="connsiteX11" fmla="*/ 1470615 w 1530952"/>
              <a:gd name="connsiteY11" fmla="*/ 6412 h 1760177"/>
              <a:gd name="connsiteX12" fmla="*/ 1493469 w 1530952"/>
              <a:gd name="connsiteY12" fmla="*/ 119109 h 1760177"/>
              <a:gd name="connsiteX13" fmla="*/ 1507595 w 1530952"/>
              <a:gd name="connsiteY13" fmla="*/ 234469 h 1760177"/>
              <a:gd name="connsiteX14" fmla="*/ 1499589 w 1530952"/>
              <a:gd name="connsiteY14" fmla="*/ 247210 h 1760177"/>
              <a:gd name="connsiteX15" fmla="*/ 1214573 w 1530952"/>
              <a:gd name="connsiteY15" fmla="*/ 307177 h 1760177"/>
              <a:gd name="connsiteX16" fmla="*/ 1059517 w 1530952"/>
              <a:gd name="connsiteY16" fmla="*/ 338386 h 1760177"/>
              <a:gd name="connsiteX17" fmla="*/ 369740 w 1530952"/>
              <a:gd name="connsiteY17" fmla="*/ 476877 h 1760177"/>
              <a:gd name="connsiteX18" fmla="*/ 313045 w 1530952"/>
              <a:gd name="connsiteY18" fmla="*/ 489414 h 1760177"/>
              <a:gd name="connsiteX19" fmla="*/ 915007 w 1530952"/>
              <a:gd name="connsiteY19" fmla="*/ 491004 h 1760177"/>
              <a:gd name="connsiteX20" fmla="*/ 1524685 w 1530952"/>
              <a:gd name="connsiteY20" fmla="*/ 498277 h 1760177"/>
              <a:gd name="connsiteX21" fmla="*/ 1531014 w 1530952"/>
              <a:gd name="connsiteY21" fmla="*/ 1125610 h 1760177"/>
              <a:gd name="connsiteX22" fmla="*/ 1524685 w 1530952"/>
              <a:gd name="connsiteY22" fmla="*/ 1752954 h 1760177"/>
              <a:gd name="connsiteX23" fmla="*/ 1290518 w 1530952"/>
              <a:gd name="connsiteY23" fmla="*/ 1760203 h 1760177"/>
              <a:gd name="connsiteX24" fmla="*/ 1056351 w 1530952"/>
              <a:gd name="connsiteY24" fmla="*/ 1752954 h 1760177"/>
              <a:gd name="connsiteX25" fmla="*/ 1056071 w 1530952"/>
              <a:gd name="connsiteY25" fmla="*/ 1719706 h 1760177"/>
              <a:gd name="connsiteX26" fmla="*/ 1062120 w 1530952"/>
              <a:gd name="connsiteY26" fmla="*/ 1711120 h 1760177"/>
              <a:gd name="connsiteX27" fmla="*/ 1274417 w 1530952"/>
              <a:gd name="connsiteY27" fmla="*/ 1710134 h 1760177"/>
              <a:gd name="connsiteX28" fmla="*/ 1486711 w 1530952"/>
              <a:gd name="connsiteY28" fmla="*/ 1709148 h 1760177"/>
              <a:gd name="connsiteX29" fmla="*/ 1486711 w 1530952"/>
              <a:gd name="connsiteY29" fmla="*/ 1227363 h 1760177"/>
              <a:gd name="connsiteX30" fmla="*/ 1486711 w 1530952"/>
              <a:gd name="connsiteY30" fmla="*/ 745574 h 1760177"/>
              <a:gd name="connsiteX31" fmla="*/ 779465 w 1530952"/>
              <a:gd name="connsiteY31" fmla="*/ 745574 h 1760177"/>
              <a:gd name="connsiteX32" fmla="*/ 72220 w 1530952"/>
              <a:gd name="connsiteY32" fmla="*/ 745574 h 1760177"/>
              <a:gd name="connsiteX33" fmla="*/ 72220 w 1530952"/>
              <a:gd name="connsiteY33" fmla="*/ 1227363 h 1760177"/>
              <a:gd name="connsiteX34" fmla="*/ 72220 w 1530952"/>
              <a:gd name="connsiteY34" fmla="*/ 1709151 h 1760177"/>
              <a:gd name="connsiteX35" fmla="*/ 282935 w 1530952"/>
              <a:gd name="connsiteY35" fmla="*/ 1710137 h 1760177"/>
              <a:gd name="connsiteX36" fmla="*/ 493648 w 1530952"/>
              <a:gd name="connsiteY36" fmla="*/ 1711122 h 1760177"/>
              <a:gd name="connsiteX37" fmla="*/ 499697 w 1530952"/>
              <a:gd name="connsiteY37" fmla="*/ 1719708 h 1760177"/>
              <a:gd name="connsiteX38" fmla="*/ 499186 w 1530952"/>
              <a:gd name="connsiteY38" fmla="*/ 1750648 h 1760177"/>
              <a:gd name="connsiteX39" fmla="*/ 492626 w 1530952"/>
              <a:gd name="connsiteY39" fmla="*/ 1760230 h 1760177"/>
              <a:gd name="connsiteX40" fmla="*/ 268534 w 1530952"/>
              <a:gd name="connsiteY40" fmla="*/ 1760230 h 1760177"/>
              <a:gd name="connsiteX41" fmla="*/ 37730 w 1530952"/>
              <a:gd name="connsiteY41" fmla="*/ 1753860 h 1760177"/>
              <a:gd name="connsiteX42" fmla="*/ 292150 w 1530952"/>
              <a:gd name="connsiteY42" fmla="*/ 621378 h 1760177"/>
              <a:gd name="connsiteX43" fmla="*/ 343833 w 1530952"/>
              <a:gd name="connsiteY43" fmla="*/ 545007 h 1760177"/>
              <a:gd name="connsiteX44" fmla="*/ 208555 w 1530952"/>
              <a:gd name="connsiteY44" fmla="*/ 541918 h 1760177"/>
              <a:gd name="connsiteX45" fmla="*/ 72220 w 1530952"/>
              <a:gd name="connsiteY45" fmla="*/ 541918 h 1760177"/>
              <a:gd name="connsiteX46" fmla="*/ 72220 w 1530952"/>
              <a:gd name="connsiteY46" fmla="*/ 618289 h 1760177"/>
              <a:gd name="connsiteX47" fmla="*/ 72220 w 1530952"/>
              <a:gd name="connsiteY47" fmla="*/ 694660 h 1760177"/>
              <a:gd name="connsiteX48" fmla="*/ 156871 w 1530952"/>
              <a:gd name="connsiteY48" fmla="*/ 694660 h 1760177"/>
              <a:gd name="connsiteX49" fmla="*/ 241521 w 1530952"/>
              <a:gd name="connsiteY49" fmla="*/ 694660 h 1760177"/>
              <a:gd name="connsiteX50" fmla="*/ 596455 w 1530952"/>
              <a:gd name="connsiteY50" fmla="*/ 622833 h 1760177"/>
              <a:gd name="connsiteX51" fmla="*/ 649033 w 1530952"/>
              <a:gd name="connsiteY51" fmla="*/ 546462 h 1760177"/>
              <a:gd name="connsiteX52" fmla="*/ 527300 w 1530952"/>
              <a:gd name="connsiteY52" fmla="*/ 541918 h 1760177"/>
              <a:gd name="connsiteX53" fmla="*/ 402516 w 1530952"/>
              <a:gd name="connsiteY53" fmla="*/ 541918 h 1760177"/>
              <a:gd name="connsiteX54" fmla="*/ 349778 w 1530952"/>
              <a:gd name="connsiteY54" fmla="*/ 618289 h 1760177"/>
              <a:gd name="connsiteX55" fmla="*/ 297043 w 1530952"/>
              <a:gd name="connsiteY55" fmla="*/ 694660 h 1760177"/>
              <a:gd name="connsiteX56" fmla="*/ 421983 w 1530952"/>
              <a:gd name="connsiteY56" fmla="*/ 694660 h 1760177"/>
              <a:gd name="connsiteX57" fmla="*/ 546924 w 1530952"/>
              <a:gd name="connsiteY57" fmla="*/ 694660 h 1760177"/>
              <a:gd name="connsiteX58" fmla="*/ 905447 w 1530952"/>
              <a:gd name="connsiteY58" fmla="*/ 618289 h 1760177"/>
              <a:gd name="connsiteX59" fmla="*/ 958143 w 1530952"/>
              <a:gd name="connsiteY59" fmla="*/ 541918 h 1760177"/>
              <a:gd name="connsiteX60" fmla="*/ 833194 w 1530952"/>
              <a:gd name="connsiteY60" fmla="*/ 541918 h 1760177"/>
              <a:gd name="connsiteX61" fmla="*/ 708246 w 1530952"/>
              <a:gd name="connsiteY61" fmla="*/ 541918 h 1760177"/>
              <a:gd name="connsiteX62" fmla="*/ 658740 w 1530952"/>
              <a:gd name="connsiteY62" fmla="*/ 613742 h 1760177"/>
              <a:gd name="connsiteX63" fmla="*/ 606153 w 1530952"/>
              <a:gd name="connsiteY63" fmla="*/ 690113 h 1760177"/>
              <a:gd name="connsiteX64" fmla="*/ 727905 w 1530952"/>
              <a:gd name="connsiteY64" fmla="*/ 694660 h 1760177"/>
              <a:gd name="connsiteX65" fmla="*/ 852747 w 1530952"/>
              <a:gd name="connsiteY65" fmla="*/ 694660 h 1760177"/>
              <a:gd name="connsiteX66" fmla="*/ 1206662 w 1530952"/>
              <a:gd name="connsiteY66" fmla="*/ 625233 h 1760177"/>
              <a:gd name="connsiteX67" fmla="*/ 1258470 w 1530952"/>
              <a:gd name="connsiteY67" fmla="*/ 549035 h 1760177"/>
              <a:gd name="connsiteX68" fmla="*/ 1138222 w 1530952"/>
              <a:gd name="connsiteY68" fmla="*/ 541918 h 1760177"/>
              <a:gd name="connsiteX69" fmla="*/ 1013632 w 1530952"/>
              <a:gd name="connsiteY69" fmla="*/ 541918 h 1760177"/>
              <a:gd name="connsiteX70" fmla="*/ 963001 w 1530952"/>
              <a:gd name="connsiteY70" fmla="*/ 615288 h 1760177"/>
              <a:gd name="connsiteX71" fmla="*/ 911317 w 1530952"/>
              <a:gd name="connsiteY71" fmla="*/ 691659 h 1760177"/>
              <a:gd name="connsiteX72" fmla="*/ 1034728 w 1530952"/>
              <a:gd name="connsiteY72" fmla="*/ 694487 h 1760177"/>
              <a:gd name="connsiteX73" fmla="*/ 1159196 w 1530952"/>
              <a:gd name="connsiteY73" fmla="*/ 694322 h 1760177"/>
              <a:gd name="connsiteX74" fmla="*/ 1206662 w 1530952"/>
              <a:gd name="connsiteY74" fmla="*/ 625241 h 1760177"/>
              <a:gd name="connsiteX75" fmla="*/ 1486711 w 1530952"/>
              <a:gd name="connsiteY75" fmla="*/ 618289 h 1760177"/>
              <a:gd name="connsiteX76" fmla="*/ 1486711 w 1530952"/>
              <a:gd name="connsiteY76" fmla="*/ 541918 h 1760177"/>
              <a:gd name="connsiteX77" fmla="*/ 1403100 w 1530952"/>
              <a:gd name="connsiteY77" fmla="*/ 541918 h 1760177"/>
              <a:gd name="connsiteX78" fmla="*/ 1319489 w 1530952"/>
              <a:gd name="connsiteY78" fmla="*/ 541918 h 1760177"/>
              <a:gd name="connsiteX79" fmla="*/ 1271254 w 1530952"/>
              <a:gd name="connsiteY79" fmla="*/ 611924 h 1760177"/>
              <a:gd name="connsiteX80" fmla="*/ 1218304 w 1530952"/>
              <a:gd name="connsiteY80" fmla="*/ 688295 h 1760177"/>
              <a:gd name="connsiteX81" fmla="*/ 1350151 w 1530952"/>
              <a:gd name="connsiteY81" fmla="*/ 694660 h 1760177"/>
              <a:gd name="connsiteX82" fmla="*/ 1486711 w 1530952"/>
              <a:gd name="connsiteY82" fmla="*/ 694660 h 1760177"/>
              <a:gd name="connsiteX83" fmla="*/ 285027 w 1530952"/>
              <a:gd name="connsiteY83" fmla="*/ 443213 h 1760177"/>
              <a:gd name="connsiteX84" fmla="*/ 363345 w 1530952"/>
              <a:gd name="connsiteY84" fmla="*/ 425391 h 1760177"/>
              <a:gd name="connsiteX85" fmla="*/ 304533 w 1530952"/>
              <a:gd name="connsiteY85" fmla="*/ 358306 h 1760177"/>
              <a:gd name="connsiteX86" fmla="*/ 245722 w 1530952"/>
              <a:gd name="connsiteY86" fmla="*/ 293415 h 1760177"/>
              <a:gd name="connsiteX87" fmla="*/ 147105 w 1530952"/>
              <a:gd name="connsiteY87" fmla="*/ 312842 h 1760177"/>
              <a:gd name="connsiteX88" fmla="*/ 47307 w 1530952"/>
              <a:gd name="connsiteY88" fmla="*/ 333287 h 1760177"/>
              <a:gd name="connsiteX89" fmla="*/ 67975 w 1530952"/>
              <a:gd name="connsiteY89" fmla="*/ 478623 h 1760177"/>
              <a:gd name="connsiteX90" fmla="*/ 138101 w 1530952"/>
              <a:gd name="connsiteY90" fmla="*/ 472541 h 1760177"/>
              <a:gd name="connsiteX91" fmla="*/ 285027 w 1530952"/>
              <a:gd name="connsiteY91" fmla="*/ 443213 h 1760177"/>
              <a:gd name="connsiteX92" fmla="*/ 546355 w 1530952"/>
              <a:gd name="connsiteY92" fmla="*/ 390670 h 1760177"/>
              <a:gd name="connsiteX93" fmla="*/ 666340 w 1530952"/>
              <a:gd name="connsiteY93" fmla="*/ 365819 h 1760177"/>
              <a:gd name="connsiteX94" fmla="*/ 607188 w 1530952"/>
              <a:gd name="connsiteY94" fmla="*/ 298742 h 1760177"/>
              <a:gd name="connsiteX95" fmla="*/ 547242 w 1530952"/>
              <a:gd name="connsiteY95" fmla="*/ 232558 h 1760177"/>
              <a:gd name="connsiteX96" fmla="*/ 425094 w 1530952"/>
              <a:gd name="connsiteY96" fmla="*/ 257226 h 1760177"/>
              <a:gd name="connsiteX97" fmla="*/ 302293 w 1530952"/>
              <a:gd name="connsiteY97" fmla="*/ 284165 h 1760177"/>
              <a:gd name="connsiteX98" fmla="*/ 422942 w 1530952"/>
              <a:gd name="connsiteY98" fmla="*/ 414550 h 1760177"/>
              <a:gd name="connsiteX99" fmla="*/ 546355 w 1530952"/>
              <a:gd name="connsiteY99" fmla="*/ 390670 h 1760177"/>
              <a:gd name="connsiteX100" fmla="*/ 844337 w 1530952"/>
              <a:gd name="connsiteY100" fmla="*/ 330989 h 1760177"/>
              <a:gd name="connsiteX101" fmla="*/ 962396 w 1530952"/>
              <a:gd name="connsiteY101" fmla="*/ 306224 h 1760177"/>
              <a:gd name="connsiteX102" fmla="*/ 909670 w 1530952"/>
              <a:gd name="connsiteY102" fmla="*/ 239102 h 1760177"/>
              <a:gd name="connsiteX103" fmla="*/ 843821 w 1530952"/>
              <a:gd name="connsiteY103" fmla="*/ 174617 h 1760177"/>
              <a:gd name="connsiteX104" fmla="*/ 602193 w 1530952"/>
              <a:gd name="connsiteY104" fmla="*/ 222685 h 1760177"/>
              <a:gd name="connsiteX105" fmla="*/ 661955 w 1530952"/>
              <a:gd name="connsiteY105" fmla="*/ 289950 h 1760177"/>
              <a:gd name="connsiteX106" fmla="*/ 727255 w 1530952"/>
              <a:gd name="connsiteY106" fmla="*/ 354660 h 1760177"/>
              <a:gd name="connsiteX107" fmla="*/ 844337 w 1530952"/>
              <a:gd name="connsiteY107" fmla="*/ 330989 h 1760177"/>
              <a:gd name="connsiteX108" fmla="*/ 1153658 w 1530952"/>
              <a:gd name="connsiteY108" fmla="*/ 268684 h 1760177"/>
              <a:gd name="connsiteX109" fmla="*/ 1268368 w 1530952"/>
              <a:gd name="connsiteY109" fmla="*/ 243654 h 1760177"/>
              <a:gd name="connsiteX110" fmla="*/ 1157939 w 1530952"/>
              <a:gd name="connsiteY110" fmla="*/ 121635 h 1760177"/>
              <a:gd name="connsiteX111" fmla="*/ 1148065 w 1530952"/>
              <a:gd name="connsiteY111" fmla="*/ 112085 h 1760177"/>
              <a:gd name="connsiteX112" fmla="*/ 1027054 w 1530952"/>
              <a:gd name="connsiteY112" fmla="*/ 136391 h 1760177"/>
              <a:gd name="connsiteX113" fmla="*/ 904922 w 1530952"/>
              <a:gd name="connsiteY113" fmla="*/ 161967 h 1760177"/>
              <a:gd name="connsiteX114" fmla="*/ 942896 w 1530952"/>
              <a:gd name="connsiteY114" fmla="*/ 206276 h 1760177"/>
              <a:gd name="connsiteX115" fmla="*/ 1002556 w 1530952"/>
              <a:gd name="connsiteY115" fmla="*/ 272056 h 1760177"/>
              <a:gd name="connsiteX116" fmla="*/ 1031038 w 1530952"/>
              <a:gd name="connsiteY116" fmla="*/ 293199 h 1760177"/>
              <a:gd name="connsiteX117" fmla="*/ 1153658 w 1530952"/>
              <a:gd name="connsiteY117" fmla="*/ 268684 h 1760177"/>
              <a:gd name="connsiteX118" fmla="*/ 1395546 w 1530952"/>
              <a:gd name="connsiteY118" fmla="*/ 220126 h 1760177"/>
              <a:gd name="connsiteX119" fmla="*/ 1460651 w 1530952"/>
              <a:gd name="connsiteY119" fmla="*/ 205771 h 1760177"/>
              <a:gd name="connsiteX120" fmla="*/ 1438465 w 1530952"/>
              <a:gd name="connsiteY120" fmla="*/ 56127 h 1760177"/>
              <a:gd name="connsiteX121" fmla="*/ 1207580 w 1530952"/>
              <a:gd name="connsiteY121" fmla="*/ 101536 h 1760177"/>
              <a:gd name="connsiteX122" fmla="*/ 1327828 w 1530952"/>
              <a:gd name="connsiteY122" fmla="*/ 232789 h 1760177"/>
              <a:gd name="connsiteX123" fmla="*/ 1395546 w 1530952"/>
              <a:gd name="connsiteY123" fmla="*/ 220126 h 1760177"/>
              <a:gd name="connsiteX124" fmla="*/ 623531 w 1530952"/>
              <a:gd name="connsiteY124" fmla="*/ 1754547 h 1760177"/>
              <a:gd name="connsiteX125" fmla="*/ 616548 w 1530952"/>
              <a:gd name="connsiteY125" fmla="*/ 1737279 h 1760177"/>
              <a:gd name="connsiteX126" fmla="*/ 669660 w 1530952"/>
              <a:gd name="connsiteY126" fmla="*/ 1709302 h 1760177"/>
              <a:gd name="connsiteX127" fmla="*/ 712587 w 1530952"/>
              <a:gd name="connsiteY127" fmla="*/ 1716839 h 1760177"/>
              <a:gd name="connsiteX128" fmla="*/ 714597 w 1530952"/>
              <a:gd name="connsiteY128" fmla="*/ 1752954 h 1760177"/>
              <a:gd name="connsiteX129" fmla="*/ 669415 w 1530952"/>
              <a:gd name="connsiteY129" fmla="*/ 1760203 h 1760177"/>
              <a:gd name="connsiteX130" fmla="*/ 623531 w 1530952"/>
              <a:gd name="connsiteY130" fmla="*/ 1754547 h 1760177"/>
              <a:gd name="connsiteX131" fmla="*/ 838131 w 1530952"/>
              <a:gd name="connsiteY131" fmla="*/ 1752268 h 1760177"/>
              <a:gd name="connsiteX132" fmla="*/ 837722 w 1530952"/>
              <a:gd name="connsiteY132" fmla="*/ 1719706 h 1760177"/>
              <a:gd name="connsiteX133" fmla="*/ 882871 w 1530952"/>
              <a:gd name="connsiteY133" fmla="*/ 1709931 h 1760177"/>
              <a:gd name="connsiteX134" fmla="*/ 930622 w 1530952"/>
              <a:gd name="connsiteY134" fmla="*/ 1716559 h 1760177"/>
              <a:gd name="connsiteX135" fmla="*/ 932940 w 1530952"/>
              <a:gd name="connsiteY135" fmla="*/ 1752954 h 1760177"/>
              <a:gd name="connsiteX136" fmla="*/ 885597 w 1530952"/>
              <a:gd name="connsiteY136" fmla="*/ 1760203 h 1760177"/>
              <a:gd name="connsiteX137" fmla="*/ 838131 w 1530952"/>
              <a:gd name="connsiteY137" fmla="*/ 1752268 h 1760177"/>
              <a:gd name="connsiteX138" fmla="*/ 675730 w 1530952"/>
              <a:gd name="connsiteY138" fmla="*/ 1456999 h 1760177"/>
              <a:gd name="connsiteX139" fmla="*/ 619662 w 1530952"/>
              <a:gd name="connsiteY139" fmla="*/ 1383802 h 1760177"/>
              <a:gd name="connsiteX140" fmla="*/ 617125 w 1530952"/>
              <a:gd name="connsiteY140" fmla="*/ 1215946 h 1760177"/>
              <a:gd name="connsiteX141" fmla="*/ 639950 w 1530952"/>
              <a:gd name="connsiteY141" fmla="*/ 1026436 h 1760177"/>
              <a:gd name="connsiteX142" fmla="*/ 706502 w 1530952"/>
              <a:gd name="connsiteY142" fmla="*/ 997078 h 1760177"/>
              <a:gd name="connsiteX143" fmla="*/ 728982 w 1530952"/>
              <a:gd name="connsiteY143" fmla="*/ 998382 h 1760177"/>
              <a:gd name="connsiteX144" fmla="*/ 835874 w 1530952"/>
              <a:gd name="connsiteY144" fmla="*/ 1070711 h 1760177"/>
              <a:gd name="connsiteX145" fmla="*/ 955046 w 1530952"/>
              <a:gd name="connsiteY145" fmla="*/ 1153263 h 1760177"/>
              <a:gd name="connsiteX146" fmla="*/ 962015 w 1530952"/>
              <a:gd name="connsiteY146" fmla="*/ 1295600 h 1760177"/>
              <a:gd name="connsiteX147" fmla="*/ 736975 w 1530952"/>
              <a:gd name="connsiteY147" fmla="*/ 1450978 h 1760177"/>
              <a:gd name="connsiteX148" fmla="*/ 675730 w 1530952"/>
              <a:gd name="connsiteY148" fmla="*/ 1456999 h 1760177"/>
              <a:gd name="connsiteX149" fmla="*/ 822187 w 1530952"/>
              <a:gd name="connsiteY149" fmla="*/ 1336891 h 1760177"/>
              <a:gd name="connsiteX150" fmla="*/ 935024 w 1530952"/>
              <a:gd name="connsiteY150" fmla="*/ 1255831 h 1760177"/>
              <a:gd name="connsiteX151" fmla="*/ 930650 w 1530952"/>
              <a:gd name="connsiteY151" fmla="*/ 1195943 h 1760177"/>
              <a:gd name="connsiteX152" fmla="*/ 704547 w 1530952"/>
              <a:gd name="connsiteY152" fmla="*/ 1045219 h 1760177"/>
              <a:gd name="connsiteX153" fmla="*/ 666584 w 1530952"/>
              <a:gd name="connsiteY153" fmla="*/ 1069465 h 1760177"/>
              <a:gd name="connsiteX154" fmla="*/ 660802 w 1530952"/>
              <a:gd name="connsiteY154" fmla="*/ 1228469 h 1760177"/>
              <a:gd name="connsiteX155" fmla="*/ 680733 w 1530952"/>
              <a:gd name="connsiteY155" fmla="*/ 1404176 h 1760177"/>
              <a:gd name="connsiteX156" fmla="*/ 822187 w 1530952"/>
              <a:gd name="connsiteY156" fmla="*/ 1336891 h 1760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</a:cxnLst>
            <a:rect l="l" t="t" r="r" b="b"/>
            <a:pathLst>
              <a:path w="1530952" h="1760177">
                <a:moveTo>
                  <a:pt x="37730" y="1753860"/>
                </a:moveTo>
                <a:lnTo>
                  <a:pt x="31019" y="1747490"/>
                </a:lnTo>
                <a:lnTo>
                  <a:pt x="30995" y="1137354"/>
                </a:lnTo>
                <a:lnTo>
                  <a:pt x="30970" y="527220"/>
                </a:lnTo>
                <a:lnTo>
                  <a:pt x="19905" y="453653"/>
                </a:lnTo>
                <a:cubicBezTo>
                  <a:pt x="-3717" y="296623"/>
                  <a:pt x="-2778" y="306463"/>
                  <a:pt x="4973" y="297556"/>
                </a:cubicBezTo>
                <a:cubicBezTo>
                  <a:pt x="12362" y="289063"/>
                  <a:pt x="9935" y="289585"/>
                  <a:pt x="456695" y="200208"/>
                </a:cubicBezTo>
                <a:cubicBezTo>
                  <a:pt x="568083" y="177923"/>
                  <a:pt x="703361" y="150779"/>
                  <a:pt x="757315" y="139886"/>
                </a:cubicBezTo>
                <a:cubicBezTo>
                  <a:pt x="945200" y="101959"/>
                  <a:pt x="1146909" y="61426"/>
                  <a:pt x="1201915" y="50550"/>
                </a:cubicBezTo>
                <a:cubicBezTo>
                  <a:pt x="1232374" y="44528"/>
                  <a:pt x="1301435" y="30704"/>
                  <a:pt x="1355390" y="19827"/>
                </a:cubicBezTo>
                <a:cubicBezTo>
                  <a:pt x="1409341" y="8952"/>
                  <a:pt x="1455819" y="52"/>
                  <a:pt x="1458671" y="52"/>
                </a:cubicBezTo>
                <a:cubicBezTo>
                  <a:pt x="1461527" y="50"/>
                  <a:pt x="1466900" y="2911"/>
                  <a:pt x="1470615" y="6412"/>
                </a:cubicBezTo>
                <a:cubicBezTo>
                  <a:pt x="1476406" y="11868"/>
                  <a:pt x="1479668" y="27947"/>
                  <a:pt x="1493469" y="119109"/>
                </a:cubicBezTo>
                <a:cubicBezTo>
                  <a:pt x="1502346" y="177734"/>
                  <a:pt x="1508683" y="229491"/>
                  <a:pt x="1507595" y="234469"/>
                </a:cubicBezTo>
                <a:cubicBezTo>
                  <a:pt x="1506511" y="239434"/>
                  <a:pt x="1502908" y="245167"/>
                  <a:pt x="1499589" y="247210"/>
                </a:cubicBezTo>
                <a:cubicBezTo>
                  <a:pt x="1493683" y="250842"/>
                  <a:pt x="1421096" y="266114"/>
                  <a:pt x="1214573" y="307177"/>
                </a:cubicBezTo>
                <a:cubicBezTo>
                  <a:pt x="1158007" y="318424"/>
                  <a:pt x="1088235" y="332469"/>
                  <a:pt x="1059517" y="338386"/>
                </a:cubicBezTo>
                <a:cubicBezTo>
                  <a:pt x="1005961" y="349426"/>
                  <a:pt x="469035" y="457228"/>
                  <a:pt x="369740" y="476877"/>
                </a:cubicBezTo>
                <a:cubicBezTo>
                  <a:pt x="339319" y="482898"/>
                  <a:pt x="313806" y="488538"/>
                  <a:pt x="313045" y="489414"/>
                </a:cubicBezTo>
                <a:cubicBezTo>
                  <a:pt x="312284" y="490290"/>
                  <a:pt x="583168" y="491004"/>
                  <a:pt x="915007" y="491004"/>
                </a:cubicBezTo>
                <a:cubicBezTo>
                  <a:pt x="1514136" y="491004"/>
                  <a:pt x="1518400" y="491058"/>
                  <a:pt x="1524685" y="498277"/>
                </a:cubicBezTo>
                <a:cubicBezTo>
                  <a:pt x="1530965" y="505493"/>
                  <a:pt x="1531014" y="510400"/>
                  <a:pt x="1531014" y="1125610"/>
                </a:cubicBezTo>
                <a:cubicBezTo>
                  <a:pt x="1531014" y="1740818"/>
                  <a:pt x="1530965" y="1745733"/>
                  <a:pt x="1524685" y="1752954"/>
                </a:cubicBezTo>
                <a:cubicBezTo>
                  <a:pt x="1518474" y="1760093"/>
                  <a:pt x="1514136" y="1760203"/>
                  <a:pt x="1290518" y="1760203"/>
                </a:cubicBezTo>
                <a:cubicBezTo>
                  <a:pt x="1066900" y="1760203"/>
                  <a:pt x="1062565" y="1760066"/>
                  <a:pt x="1056351" y="1752954"/>
                </a:cubicBezTo>
                <a:cubicBezTo>
                  <a:pt x="1048375" y="1743783"/>
                  <a:pt x="1048265" y="1730787"/>
                  <a:pt x="1056071" y="1719706"/>
                </a:cubicBezTo>
                <a:lnTo>
                  <a:pt x="1062120" y="1711120"/>
                </a:lnTo>
                <a:lnTo>
                  <a:pt x="1274417" y="1710134"/>
                </a:lnTo>
                <a:lnTo>
                  <a:pt x="1486711" y="1709148"/>
                </a:lnTo>
                <a:lnTo>
                  <a:pt x="1486711" y="1227363"/>
                </a:lnTo>
                <a:lnTo>
                  <a:pt x="1486711" y="745574"/>
                </a:lnTo>
                <a:lnTo>
                  <a:pt x="779465" y="745574"/>
                </a:lnTo>
                <a:lnTo>
                  <a:pt x="72220" y="745574"/>
                </a:lnTo>
                <a:lnTo>
                  <a:pt x="72220" y="1227363"/>
                </a:lnTo>
                <a:lnTo>
                  <a:pt x="72220" y="1709151"/>
                </a:lnTo>
                <a:lnTo>
                  <a:pt x="282935" y="1710137"/>
                </a:lnTo>
                <a:lnTo>
                  <a:pt x="493648" y="1711122"/>
                </a:lnTo>
                <a:lnTo>
                  <a:pt x="499697" y="1719708"/>
                </a:lnTo>
                <a:cubicBezTo>
                  <a:pt x="507470" y="1730741"/>
                  <a:pt x="507338" y="1738726"/>
                  <a:pt x="499186" y="1750648"/>
                </a:cubicBezTo>
                <a:lnTo>
                  <a:pt x="492626" y="1760230"/>
                </a:lnTo>
                <a:lnTo>
                  <a:pt x="268534" y="1760230"/>
                </a:lnTo>
                <a:cubicBezTo>
                  <a:pt x="59778" y="1760230"/>
                  <a:pt x="43982" y="1759791"/>
                  <a:pt x="37730" y="1753860"/>
                </a:cubicBezTo>
                <a:close/>
                <a:moveTo>
                  <a:pt x="292150" y="621378"/>
                </a:moveTo>
                <a:cubicBezTo>
                  <a:pt x="319995" y="581073"/>
                  <a:pt x="343251" y="546707"/>
                  <a:pt x="343833" y="545007"/>
                </a:cubicBezTo>
                <a:cubicBezTo>
                  <a:pt x="344413" y="543308"/>
                  <a:pt x="283536" y="541918"/>
                  <a:pt x="208555" y="541918"/>
                </a:cubicBezTo>
                <a:lnTo>
                  <a:pt x="72220" y="541918"/>
                </a:lnTo>
                <a:lnTo>
                  <a:pt x="72220" y="618289"/>
                </a:lnTo>
                <a:lnTo>
                  <a:pt x="72220" y="694660"/>
                </a:lnTo>
                <a:lnTo>
                  <a:pt x="156871" y="694660"/>
                </a:lnTo>
                <a:lnTo>
                  <a:pt x="241521" y="694660"/>
                </a:lnTo>
                <a:close/>
                <a:moveTo>
                  <a:pt x="596455" y="622833"/>
                </a:moveTo>
                <a:cubicBezTo>
                  <a:pt x="623695" y="583330"/>
                  <a:pt x="647356" y="548964"/>
                  <a:pt x="649033" y="546462"/>
                </a:cubicBezTo>
                <a:cubicBezTo>
                  <a:pt x="651461" y="542843"/>
                  <a:pt x="626642" y="541918"/>
                  <a:pt x="527300" y="541918"/>
                </a:cubicBezTo>
                <a:lnTo>
                  <a:pt x="402516" y="541918"/>
                </a:lnTo>
                <a:lnTo>
                  <a:pt x="349778" y="618289"/>
                </a:lnTo>
                <a:lnTo>
                  <a:pt x="297043" y="694660"/>
                </a:lnTo>
                <a:lnTo>
                  <a:pt x="421983" y="694660"/>
                </a:lnTo>
                <a:lnTo>
                  <a:pt x="546924" y="694660"/>
                </a:lnTo>
                <a:close/>
                <a:moveTo>
                  <a:pt x="905447" y="618289"/>
                </a:moveTo>
                <a:lnTo>
                  <a:pt x="958143" y="541918"/>
                </a:lnTo>
                <a:lnTo>
                  <a:pt x="833194" y="541918"/>
                </a:lnTo>
                <a:lnTo>
                  <a:pt x="708246" y="541918"/>
                </a:lnTo>
                <a:lnTo>
                  <a:pt x="658740" y="613742"/>
                </a:lnTo>
                <a:cubicBezTo>
                  <a:pt x="631513" y="653245"/>
                  <a:pt x="607847" y="687614"/>
                  <a:pt x="606153" y="690113"/>
                </a:cubicBezTo>
                <a:cubicBezTo>
                  <a:pt x="603695" y="693731"/>
                  <a:pt x="628498" y="694660"/>
                  <a:pt x="727905" y="694660"/>
                </a:cubicBezTo>
                <a:lnTo>
                  <a:pt x="852747" y="694660"/>
                </a:lnTo>
                <a:close/>
                <a:moveTo>
                  <a:pt x="1206662" y="625233"/>
                </a:moveTo>
                <a:cubicBezTo>
                  <a:pt x="1232769" y="587240"/>
                  <a:pt x="1256081" y="552948"/>
                  <a:pt x="1258470" y="549035"/>
                </a:cubicBezTo>
                <a:cubicBezTo>
                  <a:pt x="1262756" y="542006"/>
                  <a:pt x="1261270" y="541918"/>
                  <a:pt x="1138222" y="541918"/>
                </a:cubicBezTo>
                <a:lnTo>
                  <a:pt x="1013632" y="541918"/>
                </a:lnTo>
                <a:lnTo>
                  <a:pt x="963001" y="615288"/>
                </a:lnTo>
                <a:cubicBezTo>
                  <a:pt x="935156" y="655642"/>
                  <a:pt x="911896" y="690008"/>
                  <a:pt x="911317" y="691659"/>
                </a:cubicBezTo>
                <a:cubicBezTo>
                  <a:pt x="910738" y="693309"/>
                  <a:pt x="966271" y="694583"/>
                  <a:pt x="1034728" y="694487"/>
                </a:cubicBezTo>
                <a:lnTo>
                  <a:pt x="1159196" y="694322"/>
                </a:lnTo>
                <a:lnTo>
                  <a:pt x="1206662" y="625241"/>
                </a:lnTo>
                <a:close/>
                <a:moveTo>
                  <a:pt x="1486711" y="618289"/>
                </a:moveTo>
                <a:lnTo>
                  <a:pt x="1486711" y="541918"/>
                </a:lnTo>
                <a:lnTo>
                  <a:pt x="1403100" y="541918"/>
                </a:lnTo>
                <a:lnTo>
                  <a:pt x="1319489" y="541918"/>
                </a:lnTo>
                <a:lnTo>
                  <a:pt x="1271254" y="611924"/>
                </a:lnTo>
                <a:cubicBezTo>
                  <a:pt x="1244724" y="650428"/>
                  <a:pt x="1220897" y="684794"/>
                  <a:pt x="1218304" y="688295"/>
                </a:cubicBezTo>
                <a:cubicBezTo>
                  <a:pt x="1213826" y="694341"/>
                  <a:pt x="1220408" y="694660"/>
                  <a:pt x="1350151" y="694660"/>
                </a:cubicBezTo>
                <a:lnTo>
                  <a:pt x="1486711" y="694660"/>
                </a:lnTo>
                <a:close/>
                <a:moveTo>
                  <a:pt x="285027" y="443213"/>
                </a:moveTo>
                <a:cubicBezTo>
                  <a:pt x="328103" y="434616"/>
                  <a:pt x="363345" y="426599"/>
                  <a:pt x="363345" y="425391"/>
                </a:cubicBezTo>
                <a:cubicBezTo>
                  <a:pt x="363345" y="424185"/>
                  <a:pt x="336881" y="393996"/>
                  <a:pt x="304533" y="358306"/>
                </a:cubicBezTo>
                <a:lnTo>
                  <a:pt x="245722" y="293415"/>
                </a:lnTo>
                <a:lnTo>
                  <a:pt x="147105" y="312842"/>
                </a:lnTo>
                <a:cubicBezTo>
                  <a:pt x="92865" y="323526"/>
                  <a:pt x="47955" y="332727"/>
                  <a:pt x="47307" y="333287"/>
                </a:cubicBezTo>
                <a:cubicBezTo>
                  <a:pt x="46275" y="334179"/>
                  <a:pt x="63949" y="458480"/>
                  <a:pt x="67975" y="478623"/>
                </a:cubicBezTo>
                <a:cubicBezTo>
                  <a:pt x="69493" y="486220"/>
                  <a:pt x="69702" y="486201"/>
                  <a:pt x="138101" y="472541"/>
                </a:cubicBezTo>
                <a:cubicBezTo>
                  <a:pt x="175836" y="465007"/>
                  <a:pt x="241952" y="451808"/>
                  <a:pt x="285027" y="443213"/>
                </a:cubicBezTo>
                <a:close/>
                <a:moveTo>
                  <a:pt x="546355" y="390670"/>
                </a:moveTo>
                <a:cubicBezTo>
                  <a:pt x="611911" y="377494"/>
                  <a:pt x="665903" y="366310"/>
                  <a:pt x="666340" y="365819"/>
                </a:cubicBezTo>
                <a:cubicBezTo>
                  <a:pt x="666776" y="365327"/>
                  <a:pt x="640156" y="335146"/>
                  <a:pt x="607188" y="298742"/>
                </a:cubicBezTo>
                <a:lnTo>
                  <a:pt x="547242" y="232558"/>
                </a:lnTo>
                <a:lnTo>
                  <a:pt x="425094" y="257226"/>
                </a:lnTo>
                <a:cubicBezTo>
                  <a:pt x="357911" y="270793"/>
                  <a:pt x="302650" y="282916"/>
                  <a:pt x="302293" y="284165"/>
                </a:cubicBezTo>
                <a:cubicBezTo>
                  <a:pt x="301225" y="287883"/>
                  <a:pt x="418353" y="414465"/>
                  <a:pt x="422942" y="414550"/>
                </a:cubicBezTo>
                <a:cubicBezTo>
                  <a:pt x="425264" y="414605"/>
                  <a:pt x="480798" y="403850"/>
                  <a:pt x="546355" y="390670"/>
                </a:cubicBezTo>
                <a:close/>
                <a:moveTo>
                  <a:pt x="844337" y="330989"/>
                </a:moveTo>
                <a:cubicBezTo>
                  <a:pt x="906122" y="318814"/>
                  <a:pt x="959250" y="307669"/>
                  <a:pt x="962396" y="306224"/>
                </a:cubicBezTo>
                <a:cubicBezTo>
                  <a:pt x="967078" y="304075"/>
                  <a:pt x="957479" y="291853"/>
                  <a:pt x="909670" y="239102"/>
                </a:cubicBezTo>
                <a:cubicBezTo>
                  <a:pt x="867939" y="193061"/>
                  <a:pt x="849101" y="174612"/>
                  <a:pt x="843821" y="174617"/>
                </a:cubicBezTo>
                <a:cubicBezTo>
                  <a:pt x="836135" y="174623"/>
                  <a:pt x="603580" y="220886"/>
                  <a:pt x="602193" y="222685"/>
                </a:cubicBezTo>
                <a:cubicBezTo>
                  <a:pt x="601759" y="223245"/>
                  <a:pt x="628652" y="253514"/>
                  <a:pt x="661955" y="289950"/>
                </a:cubicBezTo>
                <a:cubicBezTo>
                  <a:pt x="698858" y="330319"/>
                  <a:pt x="724361" y="355593"/>
                  <a:pt x="727255" y="354660"/>
                </a:cubicBezTo>
                <a:cubicBezTo>
                  <a:pt x="729863" y="353817"/>
                  <a:pt x="782552" y="343166"/>
                  <a:pt x="844337" y="330989"/>
                </a:cubicBezTo>
                <a:close/>
                <a:moveTo>
                  <a:pt x="1153658" y="268684"/>
                </a:moveTo>
                <a:cubicBezTo>
                  <a:pt x="1216748" y="256084"/>
                  <a:pt x="1268368" y="244821"/>
                  <a:pt x="1268368" y="243654"/>
                </a:cubicBezTo>
                <a:cubicBezTo>
                  <a:pt x="1268368" y="241383"/>
                  <a:pt x="1174408" y="137558"/>
                  <a:pt x="1157939" y="121635"/>
                </a:cubicBezTo>
                <a:lnTo>
                  <a:pt x="1148065" y="112085"/>
                </a:lnTo>
                <a:lnTo>
                  <a:pt x="1027054" y="136391"/>
                </a:lnTo>
                <a:cubicBezTo>
                  <a:pt x="960499" y="149760"/>
                  <a:pt x="905540" y="161267"/>
                  <a:pt x="904922" y="161967"/>
                </a:cubicBezTo>
                <a:cubicBezTo>
                  <a:pt x="904307" y="162668"/>
                  <a:pt x="921397" y="182607"/>
                  <a:pt x="942896" y="206276"/>
                </a:cubicBezTo>
                <a:cubicBezTo>
                  <a:pt x="964398" y="229944"/>
                  <a:pt x="991244" y="259547"/>
                  <a:pt x="1002556" y="272056"/>
                </a:cubicBezTo>
                <a:cubicBezTo>
                  <a:pt x="1019006" y="290250"/>
                  <a:pt x="1024709" y="294484"/>
                  <a:pt x="1031038" y="293199"/>
                </a:cubicBezTo>
                <a:cubicBezTo>
                  <a:pt x="1035387" y="292314"/>
                  <a:pt x="1090566" y="281285"/>
                  <a:pt x="1153658" y="268684"/>
                </a:cubicBezTo>
                <a:close/>
                <a:moveTo>
                  <a:pt x="1395546" y="220126"/>
                </a:moveTo>
                <a:cubicBezTo>
                  <a:pt x="1430549" y="213157"/>
                  <a:pt x="1459847" y="206696"/>
                  <a:pt x="1460651" y="205771"/>
                </a:cubicBezTo>
                <a:cubicBezTo>
                  <a:pt x="1462364" y="203805"/>
                  <a:pt x="1440882" y="58900"/>
                  <a:pt x="1438465" y="56127"/>
                </a:cubicBezTo>
                <a:cubicBezTo>
                  <a:pt x="1436532" y="53902"/>
                  <a:pt x="1210844" y="98290"/>
                  <a:pt x="1207580" y="101536"/>
                </a:cubicBezTo>
                <a:cubicBezTo>
                  <a:pt x="1204716" y="104381"/>
                  <a:pt x="1322350" y="232778"/>
                  <a:pt x="1327828" y="232789"/>
                </a:cubicBezTo>
                <a:cubicBezTo>
                  <a:pt x="1330071" y="232795"/>
                  <a:pt x="1360546" y="227094"/>
                  <a:pt x="1395546" y="220126"/>
                </a:cubicBezTo>
                <a:close/>
                <a:moveTo>
                  <a:pt x="623531" y="1754547"/>
                </a:moveTo>
                <a:cubicBezTo>
                  <a:pt x="618737" y="1750703"/>
                  <a:pt x="616515" y="1745211"/>
                  <a:pt x="616548" y="1737279"/>
                </a:cubicBezTo>
                <a:cubicBezTo>
                  <a:pt x="616644" y="1713931"/>
                  <a:pt x="625436" y="1709302"/>
                  <a:pt x="669660" y="1709302"/>
                </a:cubicBezTo>
                <a:cubicBezTo>
                  <a:pt x="699860" y="1709302"/>
                  <a:pt x="705308" y="1710258"/>
                  <a:pt x="712587" y="1716839"/>
                </a:cubicBezTo>
                <a:cubicBezTo>
                  <a:pt x="722787" y="1726059"/>
                  <a:pt x="723702" y="1742465"/>
                  <a:pt x="714597" y="1752954"/>
                </a:cubicBezTo>
                <a:cubicBezTo>
                  <a:pt x="708954" y="1759434"/>
                  <a:pt x="704047" y="1760203"/>
                  <a:pt x="669415" y="1760203"/>
                </a:cubicBezTo>
                <a:cubicBezTo>
                  <a:pt x="639374" y="1760203"/>
                  <a:pt x="628970" y="1758940"/>
                  <a:pt x="623531" y="1754547"/>
                </a:cubicBezTo>
                <a:close/>
                <a:moveTo>
                  <a:pt x="838131" y="1752268"/>
                </a:moveTo>
                <a:cubicBezTo>
                  <a:pt x="830053" y="1742301"/>
                  <a:pt x="829908" y="1730807"/>
                  <a:pt x="837722" y="1719706"/>
                </a:cubicBezTo>
                <a:cubicBezTo>
                  <a:pt x="843384" y="1711658"/>
                  <a:pt x="846209" y="1711046"/>
                  <a:pt x="882871" y="1709931"/>
                </a:cubicBezTo>
                <a:cubicBezTo>
                  <a:pt x="918950" y="1708835"/>
                  <a:pt x="922646" y="1709349"/>
                  <a:pt x="930622" y="1716559"/>
                </a:cubicBezTo>
                <a:cubicBezTo>
                  <a:pt x="941133" y="1726059"/>
                  <a:pt x="942168" y="1742328"/>
                  <a:pt x="932940" y="1752954"/>
                </a:cubicBezTo>
                <a:cubicBezTo>
                  <a:pt x="927262" y="1759462"/>
                  <a:pt x="922393" y="1760203"/>
                  <a:pt x="885597" y="1760203"/>
                </a:cubicBezTo>
                <a:cubicBezTo>
                  <a:pt x="847481" y="1760203"/>
                  <a:pt x="844128" y="1759654"/>
                  <a:pt x="838131" y="1752268"/>
                </a:cubicBezTo>
                <a:close/>
                <a:moveTo>
                  <a:pt x="675730" y="1456999"/>
                </a:moveTo>
                <a:cubicBezTo>
                  <a:pt x="645958" y="1444242"/>
                  <a:pt x="625832" y="1417968"/>
                  <a:pt x="619662" y="1383802"/>
                </a:cubicBezTo>
                <a:cubicBezTo>
                  <a:pt x="617347" y="1370993"/>
                  <a:pt x="616490" y="1314365"/>
                  <a:pt x="617125" y="1215946"/>
                </a:cubicBezTo>
                <a:cubicBezTo>
                  <a:pt x="618187" y="1051090"/>
                  <a:pt x="617756" y="1054670"/>
                  <a:pt x="639950" y="1026436"/>
                </a:cubicBezTo>
                <a:cubicBezTo>
                  <a:pt x="656741" y="1005076"/>
                  <a:pt x="678553" y="995455"/>
                  <a:pt x="706502" y="997078"/>
                </a:cubicBezTo>
                <a:lnTo>
                  <a:pt x="728982" y="998382"/>
                </a:lnTo>
                <a:lnTo>
                  <a:pt x="835874" y="1070711"/>
                </a:lnTo>
                <a:cubicBezTo>
                  <a:pt x="894664" y="1110492"/>
                  <a:pt x="948291" y="1147642"/>
                  <a:pt x="955046" y="1153263"/>
                </a:cubicBezTo>
                <a:cubicBezTo>
                  <a:pt x="993844" y="1185564"/>
                  <a:pt x="997331" y="1256770"/>
                  <a:pt x="962015" y="1295600"/>
                </a:cubicBezTo>
                <a:cubicBezTo>
                  <a:pt x="951902" y="1306721"/>
                  <a:pt x="776225" y="1428015"/>
                  <a:pt x="736975" y="1450978"/>
                </a:cubicBezTo>
                <a:cubicBezTo>
                  <a:pt x="719536" y="1461181"/>
                  <a:pt x="691843" y="1463905"/>
                  <a:pt x="675730" y="1456999"/>
                </a:cubicBezTo>
                <a:close/>
                <a:moveTo>
                  <a:pt x="822187" y="1336891"/>
                </a:moveTo>
                <a:cubicBezTo>
                  <a:pt x="880490" y="1297531"/>
                  <a:pt x="931268" y="1261053"/>
                  <a:pt x="935024" y="1255831"/>
                </a:cubicBezTo>
                <a:cubicBezTo>
                  <a:pt x="947767" y="1238115"/>
                  <a:pt x="945875" y="1212233"/>
                  <a:pt x="930650" y="1195943"/>
                </a:cubicBezTo>
                <a:cubicBezTo>
                  <a:pt x="916531" y="1180838"/>
                  <a:pt x="716104" y="1047229"/>
                  <a:pt x="704547" y="1045219"/>
                </a:cubicBezTo>
                <a:cubicBezTo>
                  <a:pt x="690665" y="1042806"/>
                  <a:pt x="674080" y="1053397"/>
                  <a:pt x="666584" y="1069465"/>
                </a:cubicBezTo>
                <a:cubicBezTo>
                  <a:pt x="661257" y="1080876"/>
                  <a:pt x="660802" y="1093419"/>
                  <a:pt x="660802" y="1228469"/>
                </a:cubicBezTo>
                <a:cubicBezTo>
                  <a:pt x="660802" y="1390302"/>
                  <a:pt x="660738" y="1389747"/>
                  <a:pt x="680733" y="1404176"/>
                </a:cubicBezTo>
                <a:cubicBezTo>
                  <a:pt x="699868" y="1417990"/>
                  <a:pt x="707287" y="1414459"/>
                  <a:pt x="822187" y="1336891"/>
                </a:cubicBezTo>
                <a:close/>
              </a:path>
            </a:pathLst>
          </a:custGeom>
          <a:solidFill>
            <a:schemeClr val="bg1"/>
          </a:solidFill>
          <a:ln w="3386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C3ED7B4-6CB9-407C-867F-8C117D513273}"/>
              </a:ext>
            </a:extLst>
          </p:cNvPr>
          <p:cNvSpPr/>
          <p:nvPr/>
        </p:nvSpPr>
        <p:spPr>
          <a:xfrm flipH="1">
            <a:off x="5019918" y="4533489"/>
            <a:ext cx="731520" cy="684851"/>
          </a:xfrm>
          <a:prstGeom prst="ellipse">
            <a:avLst/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975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AC87AE4-935A-4111-ADFD-FB092F08BFCD}"/>
              </a:ext>
            </a:extLst>
          </p:cNvPr>
          <p:cNvSpPr/>
          <p:nvPr/>
        </p:nvSpPr>
        <p:spPr>
          <a:xfrm>
            <a:off x="5141838" y="4685678"/>
            <a:ext cx="487680" cy="380473"/>
          </a:xfrm>
          <a:custGeom>
            <a:avLst/>
            <a:gdLst>
              <a:gd name="connsiteX0" fmla="*/ 61849 w 1674165"/>
              <a:gd name="connsiteY0" fmla="*/ 1606016 h 1608746"/>
              <a:gd name="connsiteX1" fmla="*/ 4605 w 1674165"/>
              <a:gd name="connsiteY1" fmla="*/ 1551238 h 1608746"/>
              <a:gd name="connsiteX2" fmla="*/ 385 w 1674165"/>
              <a:gd name="connsiteY2" fmla="*/ 1408898 h 1608746"/>
              <a:gd name="connsiteX3" fmla="*/ 8419 w 1674165"/>
              <a:gd name="connsiteY3" fmla="*/ 1271088 h 1608746"/>
              <a:gd name="connsiteX4" fmla="*/ 52055 w 1674165"/>
              <a:gd name="connsiteY4" fmla="*/ 1232043 h 1608746"/>
              <a:gd name="connsiteX5" fmla="*/ 230367 w 1674165"/>
              <a:gd name="connsiteY5" fmla="*/ 1225480 h 1608746"/>
              <a:gd name="connsiteX6" fmla="*/ 393954 w 1674165"/>
              <a:gd name="connsiteY6" fmla="*/ 1225316 h 1608746"/>
              <a:gd name="connsiteX7" fmla="*/ 380868 w 1674165"/>
              <a:gd name="connsiteY7" fmla="*/ 1215321 h 1608746"/>
              <a:gd name="connsiteX8" fmla="*/ 278877 w 1674165"/>
              <a:gd name="connsiteY8" fmla="*/ 1117105 h 1608746"/>
              <a:gd name="connsiteX9" fmla="*/ 142157 w 1674165"/>
              <a:gd name="connsiteY9" fmla="*/ 511307 h 1608746"/>
              <a:gd name="connsiteX10" fmla="*/ 498214 w 1674165"/>
              <a:gd name="connsiteY10" fmla="*/ 79783 h 1608746"/>
              <a:gd name="connsiteX11" fmla="*/ 1060689 w 1674165"/>
              <a:gd name="connsiteY11" fmla="*/ 36454 h 1608746"/>
              <a:gd name="connsiteX12" fmla="*/ 1195152 w 1674165"/>
              <a:gd name="connsiteY12" fmla="*/ 100706 h 1608746"/>
              <a:gd name="connsiteX13" fmla="*/ 1183743 w 1674165"/>
              <a:gd name="connsiteY13" fmla="*/ 130387 h 1608746"/>
              <a:gd name="connsiteX14" fmla="*/ 1125717 w 1674165"/>
              <a:gd name="connsiteY14" fmla="*/ 113418 h 1608746"/>
              <a:gd name="connsiteX15" fmla="*/ 1003311 w 1674165"/>
              <a:gd name="connsiteY15" fmla="*/ 68827 h 1608746"/>
              <a:gd name="connsiteX16" fmla="*/ 970452 w 1674165"/>
              <a:gd name="connsiteY16" fmla="*/ 60645 h 1608746"/>
              <a:gd name="connsiteX17" fmla="*/ 985779 w 1674165"/>
              <a:gd name="connsiteY17" fmla="*/ 84204 h 1608746"/>
              <a:gd name="connsiteX18" fmla="*/ 1118592 w 1674165"/>
              <a:gd name="connsiteY18" fmla="*/ 389505 h 1608746"/>
              <a:gd name="connsiteX19" fmla="*/ 1127060 w 1674165"/>
              <a:gd name="connsiteY19" fmla="*/ 429565 h 1608746"/>
              <a:gd name="connsiteX20" fmla="*/ 1128587 w 1674165"/>
              <a:gd name="connsiteY20" fmla="*/ 436650 h 1608746"/>
              <a:gd name="connsiteX21" fmla="*/ 1285567 w 1674165"/>
              <a:gd name="connsiteY21" fmla="*/ 436650 h 1608746"/>
              <a:gd name="connsiteX22" fmla="*/ 1442546 w 1674165"/>
              <a:gd name="connsiteY22" fmla="*/ 434289 h 1608746"/>
              <a:gd name="connsiteX23" fmla="*/ 1388347 w 1674165"/>
              <a:gd name="connsiteY23" fmla="*/ 336786 h 1608746"/>
              <a:gd name="connsiteX24" fmla="*/ 1301218 w 1674165"/>
              <a:gd name="connsiteY24" fmla="*/ 233463 h 1608746"/>
              <a:gd name="connsiteX25" fmla="*/ 1269148 w 1674165"/>
              <a:gd name="connsiteY25" fmla="*/ 195654 h 1608746"/>
              <a:gd name="connsiteX26" fmla="*/ 1287654 w 1674165"/>
              <a:gd name="connsiteY26" fmla="*/ 172452 h 1608746"/>
              <a:gd name="connsiteX27" fmla="*/ 1345738 w 1674165"/>
              <a:gd name="connsiteY27" fmla="*/ 210536 h 1608746"/>
              <a:gd name="connsiteX28" fmla="*/ 1442397 w 1674165"/>
              <a:gd name="connsiteY28" fmla="*/ 1038769 h 1608746"/>
              <a:gd name="connsiteX29" fmla="*/ 1425376 w 1674165"/>
              <a:gd name="connsiteY29" fmla="*/ 1065842 h 1608746"/>
              <a:gd name="connsiteX30" fmla="*/ 1443350 w 1674165"/>
              <a:gd name="connsiteY30" fmla="*/ 1083607 h 1608746"/>
              <a:gd name="connsiteX31" fmla="*/ 1670702 w 1674165"/>
              <a:gd name="connsiteY31" fmla="*/ 1316557 h 1608746"/>
              <a:gd name="connsiteX32" fmla="*/ 1643483 w 1674165"/>
              <a:gd name="connsiteY32" fmla="*/ 1379655 h 1608746"/>
              <a:gd name="connsiteX33" fmla="*/ 1628728 w 1674165"/>
              <a:gd name="connsiteY33" fmla="*/ 1386519 h 1608746"/>
              <a:gd name="connsiteX34" fmla="*/ 1543084 w 1674165"/>
              <a:gd name="connsiteY34" fmla="*/ 1373779 h 1608746"/>
              <a:gd name="connsiteX35" fmla="*/ 1455720 w 1674165"/>
              <a:gd name="connsiteY35" fmla="*/ 1363400 h 1608746"/>
              <a:gd name="connsiteX36" fmla="*/ 1404360 w 1674165"/>
              <a:gd name="connsiteY36" fmla="*/ 1428777 h 1608746"/>
              <a:gd name="connsiteX37" fmla="*/ 1321216 w 1674165"/>
              <a:gd name="connsiteY37" fmla="*/ 1502116 h 1608746"/>
              <a:gd name="connsiteX38" fmla="*/ 1275814 w 1674165"/>
              <a:gd name="connsiteY38" fmla="*/ 1478722 h 1608746"/>
              <a:gd name="connsiteX39" fmla="*/ 1269137 w 1674165"/>
              <a:gd name="connsiteY39" fmla="*/ 1412165 h 1608746"/>
              <a:gd name="connsiteX40" fmla="*/ 1266992 w 1674165"/>
              <a:gd name="connsiteY40" fmla="*/ 1292642 h 1608746"/>
              <a:gd name="connsiteX41" fmla="*/ 1264856 w 1674165"/>
              <a:gd name="connsiteY41" fmla="*/ 1229352 h 1608746"/>
              <a:gd name="connsiteX42" fmla="*/ 1235100 w 1674165"/>
              <a:gd name="connsiteY42" fmla="*/ 1249012 h 1608746"/>
              <a:gd name="connsiteX43" fmla="*/ 1117148 w 1674165"/>
              <a:gd name="connsiteY43" fmla="*/ 1312274 h 1608746"/>
              <a:gd name="connsiteX44" fmla="*/ 1084292 w 1674165"/>
              <a:gd name="connsiteY44" fmla="*/ 1325866 h 1608746"/>
              <a:gd name="connsiteX45" fmla="*/ 1082655 w 1674165"/>
              <a:gd name="connsiteY45" fmla="*/ 1436767 h 1608746"/>
              <a:gd name="connsiteX46" fmla="*/ 1075127 w 1674165"/>
              <a:gd name="connsiteY46" fmla="*/ 1560244 h 1608746"/>
              <a:gd name="connsiteX47" fmla="*/ 1035214 w 1674165"/>
              <a:gd name="connsiteY47" fmla="*/ 1600607 h 1608746"/>
              <a:gd name="connsiteX48" fmla="*/ 1022128 w 1674165"/>
              <a:gd name="connsiteY48" fmla="*/ 1607389 h 1608746"/>
              <a:gd name="connsiteX49" fmla="*/ 664141 w 1674165"/>
              <a:gd name="connsiteY49" fmla="*/ 1608240 h 1608746"/>
              <a:gd name="connsiteX50" fmla="*/ 306156 w 1674165"/>
              <a:gd name="connsiteY50" fmla="*/ 1609064 h 1608746"/>
              <a:gd name="connsiteX51" fmla="*/ 298523 w 1674165"/>
              <a:gd name="connsiteY51" fmla="*/ 1602172 h 1608746"/>
              <a:gd name="connsiteX52" fmla="*/ 298413 w 1674165"/>
              <a:gd name="connsiteY52" fmla="*/ 1568701 h 1608746"/>
              <a:gd name="connsiteX53" fmla="*/ 305939 w 1674165"/>
              <a:gd name="connsiteY53" fmla="*/ 1561891 h 1608746"/>
              <a:gd name="connsiteX54" fmla="*/ 659868 w 1674165"/>
              <a:gd name="connsiteY54" fmla="*/ 1561068 h 1608746"/>
              <a:gd name="connsiteX55" fmla="*/ 1013797 w 1674165"/>
              <a:gd name="connsiteY55" fmla="*/ 1560244 h 1608746"/>
              <a:gd name="connsiteX56" fmla="*/ 1022869 w 1674165"/>
              <a:gd name="connsiteY56" fmla="*/ 1551540 h 1608746"/>
              <a:gd name="connsiteX57" fmla="*/ 1031938 w 1674165"/>
              <a:gd name="connsiteY57" fmla="*/ 1542808 h 1608746"/>
              <a:gd name="connsiteX58" fmla="*/ 1031938 w 1674165"/>
              <a:gd name="connsiteY58" fmla="*/ 1416915 h 1608746"/>
              <a:gd name="connsiteX59" fmla="*/ 1031938 w 1674165"/>
              <a:gd name="connsiteY59" fmla="*/ 1291022 h 1608746"/>
              <a:gd name="connsiteX60" fmla="*/ 1021255 w 1674165"/>
              <a:gd name="connsiteY60" fmla="*/ 1281851 h 1608746"/>
              <a:gd name="connsiteX61" fmla="*/ 1010571 w 1674165"/>
              <a:gd name="connsiteY61" fmla="*/ 1272680 h 1608746"/>
              <a:gd name="connsiteX62" fmla="*/ 541182 w 1674165"/>
              <a:gd name="connsiteY62" fmla="*/ 1272680 h 1608746"/>
              <a:gd name="connsiteX63" fmla="*/ 71788 w 1674165"/>
              <a:gd name="connsiteY63" fmla="*/ 1272680 h 1608746"/>
              <a:gd name="connsiteX64" fmla="*/ 61105 w 1674165"/>
              <a:gd name="connsiteY64" fmla="*/ 1281851 h 1608746"/>
              <a:gd name="connsiteX65" fmla="*/ 50421 w 1674165"/>
              <a:gd name="connsiteY65" fmla="*/ 1291022 h 1608746"/>
              <a:gd name="connsiteX66" fmla="*/ 50421 w 1674165"/>
              <a:gd name="connsiteY66" fmla="*/ 1416915 h 1608746"/>
              <a:gd name="connsiteX67" fmla="*/ 50421 w 1674165"/>
              <a:gd name="connsiteY67" fmla="*/ 1542808 h 1608746"/>
              <a:gd name="connsiteX68" fmla="*/ 59482 w 1674165"/>
              <a:gd name="connsiteY68" fmla="*/ 1551540 h 1608746"/>
              <a:gd name="connsiteX69" fmla="*/ 68546 w 1674165"/>
              <a:gd name="connsiteY69" fmla="*/ 1560244 h 1608746"/>
              <a:gd name="connsiteX70" fmla="*/ 132552 w 1674165"/>
              <a:gd name="connsiteY70" fmla="*/ 1561809 h 1608746"/>
              <a:gd name="connsiteX71" fmla="*/ 201194 w 1674165"/>
              <a:gd name="connsiteY71" fmla="*/ 1569497 h 1608746"/>
              <a:gd name="connsiteX72" fmla="*/ 199285 w 1674165"/>
              <a:gd name="connsiteY72" fmla="*/ 1602666 h 1608746"/>
              <a:gd name="connsiteX73" fmla="*/ 131396 w 1674165"/>
              <a:gd name="connsiteY73" fmla="*/ 1608707 h 1608746"/>
              <a:gd name="connsiteX74" fmla="*/ 61849 w 1674165"/>
              <a:gd name="connsiteY74" fmla="*/ 1606016 h 1608746"/>
              <a:gd name="connsiteX75" fmla="*/ 1373748 w 1674165"/>
              <a:gd name="connsiteY75" fmla="*/ 1390116 h 1608746"/>
              <a:gd name="connsiteX76" fmla="*/ 1432639 w 1674165"/>
              <a:gd name="connsiteY76" fmla="*/ 1321527 h 1608746"/>
              <a:gd name="connsiteX77" fmla="*/ 1540915 w 1674165"/>
              <a:gd name="connsiteY77" fmla="*/ 1326113 h 1608746"/>
              <a:gd name="connsiteX78" fmla="*/ 1625273 w 1674165"/>
              <a:gd name="connsiteY78" fmla="*/ 1337041 h 1608746"/>
              <a:gd name="connsiteX79" fmla="*/ 1613818 w 1674165"/>
              <a:gd name="connsiteY79" fmla="*/ 1322104 h 1608746"/>
              <a:gd name="connsiteX80" fmla="*/ 1319217 w 1674165"/>
              <a:gd name="connsiteY80" fmla="*/ 1031217 h 1608746"/>
              <a:gd name="connsiteX81" fmla="*/ 1314997 w 1674165"/>
              <a:gd name="connsiteY81" fmla="*/ 1235502 h 1608746"/>
              <a:gd name="connsiteX82" fmla="*/ 1321059 w 1674165"/>
              <a:gd name="connsiteY82" fmla="*/ 1454807 h 1608746"/>
              <a:gd name="connsiteX83" fmla="*/ 1373748 w 1674165"/>
              <a:gd name="connsiteY83" fmla="*/ 1390116 h 1608746"/>
              <a:gd name="connsiteX84" fmla="*/ 1127013 w 1674165"/>
              <a:gd name="connsiteY84" fmla="*/ 1255656 h 1608746"/>
              <a:gd name="connsiteX85" fmla="*/ 1245427 w 1674165"/>
              <a:gd name="connsiteY85" fmla="*/ 1184019 h 1608746"/>
              <a:gd name="connsiteX86" fmla="*/ 1265875 w 1674165"/>
              <a:gd name="connsiteY86" fmla="*/ 1168396 h 1608746"/>
              <a:gd name="connsiteX87" fmla="*/ 1265875 w 1674165"/>
              <a:gd name="connsiteY87" fmla="*/ 1097061 h 1608746"/>
              <a:gd name="connsiteX88" fmla="*/ 1273236 w 1674165"/>
              <a:gd name="connsiteY88" fmla="*/ 1011860 h 1608746"/>
              <a:gd name="connsiteX89" fmla="*/ 1314247 w 1674165"/>
              <a:gd name="connsiteY89" fmla="*/ 984292 h 1608746"/>
              <a:gd name="connsiteX90" fmla="*/ 1372086 w 1674165"/>
              <a:gd name="connsiteY90" fmla="*/ 1012492 h 1608746"/>
              <a:gd name="connsiteX91" fmla="*/ 1389739 w 1674165"/>
              <a:gd name="connsiteY91" fmla="*/ 1031245 h 1608746"/>
              <a:gd name="connsiteX92" fmla="*/ 1398795 w 1674165"/>
              <a:gd name="connsiteY92" fmla="*/ 1017571 h 1608746"/>
              <a:gd name="connsiteX93" fmla="*/ 1442551 w 1674165"/>
              <a:gd name="connsiteY93" fmla="*/ 935912 h 1608746"/>
              <a:gd name="connsiteX94" fmla="*/ 1285567 w 1674165"/>
              <a:gd name="connsiteY94" fmla="*/ 933221 h 1608746"/>
              <a:gd name="connsiteX95" fmla="*/ 1128587 w 1674165"/>
              <a:gd name="connsiteY95" fmla="*/ 933221 h 1608746"/>
              <a:gd name="connsiteX96" fmla="*/ 1126914 w 1674165"/>
              <a:gd name="connsiteY96" fmla="*/ 940305 h 1608746"/>
              <a:gd name="connsiteX97" fmla="*/ 1120135 w 1674165"/>
              <a:gd name="connsiteY97" fmla="*/ 972513 h 1608746"/>
              <a:gd name="connsiteX98" fmla="*/ 1035145 w 1674165"/>
              <a:gd name="connsiteY98" fmla="*/ 1213591 h 1608746"/>
              <a:gd name="connsiteX99" fmla="*/ 1033945 w 1674165"/>
              <a:gd name="connsiteY99" fmla="*/ 1233470 h 1608746"/>
              <a:gd name="connsiteX100" fmla="*/ 1071505 w 1674165"/>
              <a:gd name="connsiteY100" fmla="*/ 1266914 h 1608746"/>
              <a:gd name="connsiteX101" fmla="*/ 1080475 w 1674165"/>
              <a:gd name="connsiteY101" fmla="*/ 1275810 h 1608746"/>
              <a:gd name="connsiteX102" fmla="*/ 1127013 w 1674165"/>
              <a:gd name="connsiteY102" fmla="*/ 1255656 h 1608746"/>
              <a:gd name="connsiteX103" fmla="*/ 621784 w 1674165"/>
              <a:gd name="connsiteY103" fmla="*/ 1201153 h 1608746"/>
              <a:gd name="connsiteX104" fmla="*/ 539474 w 1674165"/>
              <a:gd name="connsiteY104" fmla="*/ 951288 h 1608746"/>
              <a:gd name="connsiteX105" fmla="*/ 535812 w 1674165"/>
              <a:gd name="connsiteY105" fmla="*/ 933221 h 1608746"/>
              <a:gd name="connsiteX106" fmla="*/ 377337 w 1674165"/>
              <a:gd name="connsiteY106" fmla="*/ 933221 h 1608746"/>
              <a:gd name="connsiteX107" fmla="*/ 218860 w 1674165"/>
              <a:gd name="connsiteY107" fmla="*/ 933221 h 1608746"/>
              <a:gd name="connsiteX108" fmla="*/ 237267 w 1674165"/>
              <a:gd name="connsiteY108" fmla="*/ 968587 h 1608746"/>
              <a:gd name="connsiteX109" fmla="*/ 454177 w 1674165"/>
              <a:gd name="connsiteY109" fmla="*/ 1209280 h 1608746"/>
              <a:gd name="connsiteX110" fmla="*/ 478409 w 1674165"/>
              <a:gd name="connsiteY110" fmla="*/ 1225508 h 1608746"/>
              <a:gd name="connsiteX111" fmla="*/ 556454 w 1674165"/>
              <a:gd name="connsiteY111" fmla="*/ 1225508 h 1608746"/>
              <a:gd name="connsiteX112" fmla="*/ 634500 w 1674165"/>
              <a:gd name="connsiteY112" fmla="*/ 1225508 h 1608746"/>
              <a:gd name="connsiteX113" fmla="*/ 980145 w 1674165"/>
              <a:gd name="connsiteY113" fmla="*/ 1212163 h 1608746"/>
              <a:gd name="connsiteX114" fmla="*/ 1074135 w 1674165"/>
              <a:gd name="connsiteY114" fmla="*/ 956011 h 1608746"/>
              <a:gd name="connsiteX115" fmla="*/ 1078625 w 1674165"/>
              <a:gd name="connsiteY115" fmla="*/ 933221 h 1608746"/>
              <a:gd name="connsiteX116" fmla="*/ 831989 w 1674165"/>
              <a:gd name="connsiteY116" fmla="*/ 933221 h 1608746"/>
              <a:gd name="connsiteX117" fmla="*/ 585351 w 1674165"/>
              <a:gd name="connsiteY117" fmla="*/ 934841 h 1608746"/>
              <a:gd name="connsiteX118" fmla="*/ 593613 w 1674165"/>
              <a:gd name="connsiteY118" fmla="*/ 973337 h 1608746"/>
              <a:gd name="connsiteX119" fmla="*/ 676513 w 1674165"/>
              <a:gd name="connsiteY119" fmla="*/ 1199560 h 1608746"/>
              <a:gd name="connsiteX120" fmla="*/ 691683 w 1674165"/>
              <a:gd name="connsiteY120" fmla="*/ 1225480 h 1608746"/>
              <a:gd name="connsiteX121" fmla="*/ 831509 w 1674165"/>
              <a:gd name="connsiteY121" fmla="*/ 1225508 h 1608746"/>
              <a:gd name="connsiteX122" fmla="*/ 971337 w 1674165"/>
              <a:gd name="connsiteY122" fmla="*/ 1225508 h 1608746"/>
              <a:gd name="connsiteX123" fmla="*/ 980145 w 1674165"/>
              <a:gd name="connsiteY123" fmla="*/ 1212163 h 1608746"/>
              <a:gd name="connsiteX124" fmla="*/ 523596 w 1674165"/>
              <a:gd name="connsiteY124" fmla="*/ 849146 h 1608746"/>
              <a:gd name="connsiteX125" fmla="*/ 523541 w 1674165"/>
              <a:gd name="connsiteY125" fmla="*/ 519133 h 1608746"/>
              <a:gd name="connsiteX126" fmla="*/ 528329 w 1674165"/>
              <a:gd name="connsiteY126" fmla="*/ 483767 h 1608746"/>
              <a:gd name="connsiteX127" fmla="*/ 364512 w 1674165"/>
              <a:gd name="connsiteY127" fmla="*/ 483767 h 1608746"/>
              <a:gd name="connsiteX128" fmla="*/ 200694 w 1674165"/>
              <a:gd name="connsiteY128" fmla="*/ 483767 h 1608746"/>
              <a:gd name="connsiteX129" fmla="*/ 191962 w 1674165"/>
              <a:gd name="connsiteY129" fmla="*/ 514437 h 1608746"/>
              <a:gd name="connsiteX130" fmla="*/ 169496 w 1674165"/>
              <a:gd name="connsiteY130" fmla="*/ 728826 h 1608746"/>
              <a:gd name="connsiteX131" fmla="*/ 191962 w 1674165"/>
              <a:gd name="connsiteY131" fmla="*/ 855434 h 1608746"/>
              <a:gd name="connsiteX132" fmla="*/ 200694 w 1674165"/>
              <a:gd name="connsiteY132" fmla="*/ 886076 h 1608746"/>
              <a:gd name="connsiteX133" fmla="*/ 364545 w 1674165"/>
              <a:gd name="connsiteY133" fmla="*/ 886076 h 1608746"/>
              <a:gd name="connsiteX134" fmla="*/ 528398 w 1674165"/>
              <a:gd name="connsiteY134" fmla="*/ 886076 h 1608746"/>
              <a:gd name="connsiteX135" fmla="*/ 523607 w 1674165"/>
              <a:gd name="connsiteY135" fmla="*/ 849146 h 1608746"/>
              <a:gd name="connsiteX136" fmla="*/ 1087183 w 1674165"/>
              <a:gd name="connsiteY136" fmla="*/ 877427 h 1608746"/>
              <a:gd name="connsiteX137" fmla="*/ 1087180 w 1674165"/>
              <a:gd name="connsiteY137" fmla="*/ 492416 h 1608746"/>
              <a:gd name="connsiteX138" fmla="*/ 1085404 w 1674165"/>
              <a:gd name="connsiteY138" fmla="*/ 483740 h 1608746"/>
              <a:gd name="connsiteX139" fmla="*/ 831289 w 1674165"/>
              <a:gd name="connsiteY139" fmla="*/ 484536 h 1608746"/>
              <a:gd name="connsiteX140" fmla="*/ 577174 w 1674165"/>
              <a:gd name="connsiteY140" fmla="*/ 485359 h 1608746"/>
              <a:gd name="connsiteX141" fmla="*/ 573245 w 1674165"/>
              <a:gd name="connsiteY141" fmla="*/ 518364 h 1608746"/>
              <a:gd name="connsiteX142" fmla="*/ 565782 w 1674165"/>
              <a:gd name="connsiteY142" fmla="*/ 747800 h 1608746"/>
              <a:gd name="connsiteX143" fmla="*/ 577341 w 1674165"/>
              <a:gd name="connsiteY143" fmla="*/ 882150 h 1608746"/>
              <a:gd name="connsiteX144" fmla="*/ 832006 w 1674165"/>
              <a:gd name="connsiteY144" fmla="*/ 886076 h 1608746"/>
              <a:gd name="connsiteX145" fmla="*/ 1085409 w 1674165"/>
              <a:gd name="connsiteY145" fmla="*/ 886076 h 1608746"/>
              <a:gd name="connsiteX146" fmla="*/ 1472430 w 1674165"/>
              <a:gd name="connsiteY146" fmla="*/ 854363 h 1608746"/>
              <a:gd name="connsiteX147" fmla="*/ 1494009 w 1674165"/>
              <a:gd name="connsiteY147" fmla="*/ 704993 h 1608746"/>
              <a:gd name="connsiteX148" fmla="*/ 1469374 w 1674165"/>
              <a:gd name="connsiteY148" fmla="*/ 505788 h 1608746"/>
              <a:gd name="connsiteX149" fmla="*/ 1463221 w 1674165"/>
              <a:gd name="connsiteY149" fmla="*/ 485359 h 1608746"/>
              <a:gd name="connsiteX150" fmla="*/ 1298753 w 1674165"/>
              <a:gd name="connsiteY150" fmla="*/ 484536 h 1608746"/>
              <a:gd name="connsiteX151" fmla="*/ 1134281 w 1674165"/>
              <a:gd name="connsiteY151" fmla="*/ 483712 h 1608746"/>
              <a:gd name="connsiteX152" fmla="*/ 1136072 w 1674165"/>
              <a:gd name="connsiteY152" fmla="*/ 490824 h 1608746"/>
              <a:gd name="connsiteX153" fmla="*/ 1136264 w 1674165"/>
              <a:gd name="connsiteY153" fmla="*/ 877455 h 1608746"/>
              <a:gd name="connsiteX154" fmla="*/ 1134460 w 1674165"/>
              <a:gd name="connsiteY154" fmla="*/ 886131 h 1608746"/>
              <a:gd name="connsiteX155" fmla="*/ 1299085 w 1674165"/>
              <a:gd name="connsiteY155" fmla="*/ 885308 h 1608746"/>
              <a:gd name="connsiteX156" fmla="*/ 1463713 w 1674165"/>
              <a:gd name="connsiteY156" fmla="*/ 884511 h 1608746"/>
              <a:gd name="connsiteX157" fmla="*/ 1472417 w 1674165"/>
              <a:gd name="connsiteY157" fmla="*/ 854363 h 1608746"/>
              <a:gd name="connsiteX158" fmla="*/ 545510 w 1674165"/>
              <a:gd name="connsiteY158" fmla="*/ 388709 h 1608746"/>
              <a:gd name="connsiteX159" fmla="*/ 685313 w 1674165"/>
              <a:gd name="connsiteY159" fmla="*/ 75664 h 1608746"/>
              <a:gd name="connsiteX160" fmla="*/ 700423 w 1674165"/>
              <a:gd name="connsiteY160" fmla="*/ 59519 h 1608746"/>
              <a:gd name="connsiteX161" fmla="*/ 689509 w 1674165"/>
              <a:gd name="connsiteY161" fmla="*/ 61496 h 1608746"/>
              <a:gd name="connsiteX162" fmla="*/ 575537 w 1674165"/>
              <a:gd name="connsiteY162" fmla="*/ 96395 h 1608746"/>
              <a:gd name="connsiteX163" fmla="*/ 237234 w 1674165"/>
              <a:gd name="connsiteY163" fmla="*/ 401449 h 1608746"/>
              <a:gd name="connsiteX164" fmla="*/ 222188 w 1674165"/>
              <a:gd name="connsiteY164" fmla="*/ 433437 h 1608746"/>
              <a:gd name="connsiteX165" fmla="*/ 378652 w 1674165"/>
              <a:gd name="connsiteY165" fmla="*/ 436622 h 1608746"/>
              <a:gd name="connsiteX166" fmla="*/ 535120 w 1674165"/>
              <a:gd name="connsiteY166" fmla="*/ 436622 h 1608746"/>
              <a:gd name="connsiteX167" fmla="*/ 1077878 w 1674165"/>
              <a:gd name="connsiteY167" fmla="*/ 429565 h 1608746"/>
              <a:gd name="connsiteX168" fmla="*/ 1067675 w 1674165"/>
              <a:gd name="connsiteY168" fmla="*/ 384782 h 1608746"/>
              <a:gd name="connsiteX169" fmla="*/ 881243 w 1674165"/>
              <a:gd name="connsiteY169" fmla="*/ 59162 h 1608746"/>
              <a:gd name="connsiteX170" fmla="*/ 832437 w 1674165"/>
              <a:gd name="connsiteY170" fmla="*/ 48481 h 1608746"/>
              <a:gd name="connsiteX171" fmla="*/ 783688 w 1674165"/>
              <a:gd name="connsiteY171" fmla="*/ 58723 h 1608746"/>
              <a:gd name="connsiteX172" fmla="*/ 697609 w 1674165"/>
              <a:gd name="connsiteY172" fmla="*/ 136483 h 1608746"/>
              <a:gd name="connsiteX173" fmla="*/ 593742 w 1674165"/>
              <a:gd name="connsiteY173" fmla="*/ 395408 h 1608746"/>
              <a:gd name="connsiteX174" fmla="*/ 585351 w 1674165"/>
              <a:gd name="connsiteY174" fmla="*/ 435112 h 1608746"/>
              <a:gd name="connsiteX175" fmla="*/ 832431 w 1674165"/>
              <a:gd name="connsiteY175" fmla="*/ 436622 h 1608746"/>
              <a:gd name="connsiteX176" fmla="*/ 1079511 w 1674165"/>
              <a:gd name="connsiteY176" fmla="*/ 436622 h 1608746"/>
              <a:gd name="connsiteX177" fmla="*/ 475633 w 1674165"/>
              <a:gd name="connsiteY177" fmla="*/ 1514802 h 1608746"/>
              <a:gd name="connsiteX178" fmla="*/ 465355 w 1674165"/>
              <a:gd name="connsiteY178" fmla="*/ 1507937 h 1608746"/>
              <a:gd name="connsiteX179" fmla="*/ 408677 w 1674165"/>
              <a:gd name="connsiteY179" fmla="*/ 1339430 h 1608746"/>
              <a:gd name="connsiteX180" fmla="*/ 414798 w 1674165"/>
              <a:gd name="connsiteY180" fmla="*/ 1325811 h 1608746"/>
              <a:gd name="connsiteX181" fmla="*/ 449913 w 1674165"/>
              <a:gd name="connsiteY181" fmla="*/ 1324438 h 1608746"/>
              <a:gd name="connsiteX182" fmla="*/ 469894 w 1674165"/>
              <a:gd name="connsiteY182" fmla="*/ 1375344 h 1608746"/>
              <a:gd name="connsiteX183" fmla="*/ 487360 w 1674165"/>
              <a:gd name="connsiteY183" fmla="*/ 1420375 h 1608746"/>
              <a:gd name="connsiteX184" fmla="*/ 504837 w 1674165"/>
              <a:gd name="connsiteY184" fmla="*/ 1382868 h 1608746"/>
              <a:gd name="connsiteX185" fmla="*/ 524241 w 1674165"/>
              <a:gd name="connsiteY185" fmla="*/ 1342258 h 1608746"/>
              <a:gd name="connsiteX186" fmla="*/ 537135 w 1674165"/>
              <a:gd name="connsiteY186" fmla="*/ 1336986 h 1608746"/>
              <a:gd name="connsiteX187" fmla="*/ 573220 w 1674165"/>
              <a:gd name="connsiteY187" fmla="*/ 1372241 h 1608746"/>
              <a:gd name="connsiteX188" fmla="*/ 590271 w 1674165"/>
              <a:gd name="connsiteY188" fmla="*/ 1412247 h 1608746"/>
              <a:gd name="connsiteX189" fmla="*/ 595702 w 1674165"/>
              <a:gd name="connsiteY189" fmla="*/ 1424548 h 1608746"/>
              <a:gd name="connsiteX190" fmla="*/ 611768 w 1674165"/>
              <a:gd name="connsiteY190" fmla="*/ 1377513 h 1608746"/>
              <a:gd name="connsiteX191" fmla="*/ 632383 w 1674165"/>
              <a:gd name="connsiteY191" fmla="*/ 1324520 h 1608746"/>
              <a:gd name="connsiteX192" fmla="*/ 667567 w 1674165"/>
              <a:gd name="connsiteY192" fmla="*/ 1325811 h 1608746"/>
              <a:gd name="connsiteX193" fmla="*/ 673687 w 1674165"/>
              <a:gd name="connsiteY193" fmla="*/ 1339539 h 1608746"/>
              <a:gd name="connsiteX194" fmla="*/ 615604 w 1674165"/>
              <a:gd name="connsiteY194" fmla="*/ 1509173 h 1608746"/>
              <a:gd name="connsiteX195" fmla="*/ 598437 w 1674165"/>
              <a:gd name="connsiteY195" fmla="*/ 1514665 h 1608746"/>
              <a:gd name="connsiteX196" fmla="*/ 562520 w 1674165"/>
              <a:gd name="connsiteY196" fmla="*/ 1470677 h 1608746"/>
              <a:gd name="connsiteX197" fmla="*/ 523398 w 1674165"/>
              <a:gd name="connsiteY197" fmla="*/ 1463209 h 1608746"/>
              <a:gd name="connsiteX198" fmla="*/ 500795 w 1674165"/>
              <a:gd name="connsiteY198" fmla="*/ 1508843 h 1608746"/>
              <a:gd name="connsiteX199" fmla="*/ 475633 w 1674165"/>
              <a:gd name="connsiteY199" fmla="*/ 1514802 h 1608746"/>
              <a:gd name="connsiteX200" fmla="*/ 770091 w 1674165"/>
              <a:gd name="connsiteY200" fmla="*/ 1514802 h 1608746"/>
              <a:gd name="connsiteX201" fmla="*/ 759520 w 1674165"/>
              <a:gd name="connsiteY201" fmla="*/ 1507690 h 1608746"/>
              <a:gd name="connsiteX202" fmla="*/ 703133 w 1674165"/>
              <a:gd name="connsiteY202" fmla="*/ 1339183 h 1608746"/>
              <a:gd name="connsiteX203" fmla="*/ 737027 w 1674165"/>
              <a:gd name="connsiteY203" fmla="*/ 1320182 h 1608746"/>
              <a:gd name="connsiteX204" fmla="*/ 767867 w 1674165"/>
              <a:gd name="connsiteY204" fmla="*/ 1387371 h 1608746"/>
              <a:gd name="connsiteX205" fmla="*/ 780429 w 1674165"/>
              <a:gd name="connsiteY205" fmla="*/ 1425097 h 1608746"/>
              <a:gd name="connsiteX206" fmla="*/ 791676 w 1674165"/>
              <a:gd name="connsiteY206" fmla="*/ 1398409 h 1608746"/>
              <a:gd name="connsiteX207" fmla="*/ 845506 w 1674165"/>
              <a:gd name="connsiteY207" fmla="*/ 1339018 h 1608746"/>
              <a:gd name="connsiteX208" fmla="*/ 871135 w 1674165"/>
              <a:gd name="connsiteY208" fmla="*/ 1381879 h 1608746"/>
              <a:gd name="connsiteX209" fmla="*/ 889532 w 1674165"/>
              <a:gd name="connsiteY209" fmla="*/ 1420375 h 1608746"/>
              <a:gd name="connsiteX210" fmla="*/ 907797 w 1674165"/>
              <a:gd name="connsiteY210" fmla="*/ 1372434 h 1608746"/>
              <a:gd name="connsiteX211" fmla="*/ 933423 w 1674165"/>
              <a:gd name="connsiteY211" fmla="*/ 1320209 h 1608746"/>
              <a:gd name="connsiteX212" fmla="*/ 953786 w 1674165"/>
              <a:gd name="connsiteY212" fmla="*/ 1320896 h 1608746"/>
              <a:gd name="connsiteX213" fmla="*/ 942188 w 1674165"/>
              <a:gd name="connsiteY213" fmla="*/ 1421308 h 1608746"/>
              <a:gd name="connsiteX214" fmla="*/ 910641 w 1674165"/>
              <a:gd name="connsiteY214" fmla="*/ 1507580 h 1608746"/>
              <a:gd name="connsiteX215" fmla="*/ 876215 w 1674165"/>
              <a:gd name="connsiteY215" fmla="*/ 1509667 h 1608746"/>
              <a:gd name="connsiteX216" fmla="*/ 853431 w 1674165"/>
              <a:gd name="connsiteY216" fmla="*/ 1463895 h 1608746"/>
              <a:gd name="connsiteX217" fmla="*/ 833985 w 1674165"/>
              <a:gd name="connsiteY217" fmla="*/ 1425674 h 1608746"/>
              <a:gd name="connsiteX218" fmla="*/ 815830 w 1674165"/>
              <a:gd name="connsiteY218" fmla="*/ 1465515 h 1608746"/>
              <a:gd name="connsiteX219" fmla="*/ 794960 w 1674165"/>
              <a:gd name="connsiteY219" fmla="*/ 1508459 h 1608746"/>
              <a:gd name="connsiteX220" fmla="*/ 770091 w 1674165"/>
              <a:gd name="connsiteY220" fmla="*/ 1514774 h 1608746"/>
              <a:gd name="connsiteX221" fmla="*/ 171839 w 1674165"/>
              <a:gd name="connsiteY221" fmla="*/ 1507580 h 1608746"/>
              <a:gd name="connsiteX222" fmla="*/ 140287 w 1674165"/>
              <a:gd name="connsiteY222" fmla="*/ 1421308 h 1608746"/>
              <a:gd name="connsiteX223" fmla="*/ 128582 w 1674165"/>
              <a:gd name="connsiteY223" fmla="*/ 1320896 h 1608746"/>
              <a:gd name="connsiteX224" fmla="*/ 148944 w 1674165"/>
              <a:gd name="connsiteY224" fmla="*/ 1320209 h 1608746"/>
              <a:gd name="connsiteX225" fmla="*/ 174620 w 1674165"/>
              <a:gd name="connsiteY225" fmla="*/ 1372461 h 1608746"/>
              <a:gd name="connsiteX226" fmla="*/ 192986 w 1674165"/>
              <a:gd name="connsiteY226" fmla="*/ 1420375 h 1608746"/>
              <a:gd name="connsiteX227" fmla="*/ 210741 w 1674165"/>
              <a:gd name="connsiteY227" fmla="*/ 1383444 h 1608746"/>
              <a:gd name="connsiteX228" fmla="*/ 242177 w 1674165"/>
              <a:gd name="connsiteY228" fmla="*/ 1337014 h 1608746"/>
              <a:gd name="connsiteX229" fmla="*/ 284626 w 1674165"/>
              <a:gd name="connsiteY229" fmla="*/ 1384570 h 1608746"/>
              <a:gd name="connsiteX230" fmla="*/ 302078 w 1674165"/>
              <a:gd name="connsiteY230" fmla="*/ 1424576 h 1608746"/>
              <a:gd name="connsiteX231" fmla="*/ 319047 w 1674165"/>
              <a:gd name="connsiteY231" fmla="*/ 1375125 h 1608746"/>
              <a:gd name="connsiteX232" fmla="*/ 337175 w 1674165"/>
              <a:gd name="connsiteY232" fmla="*/ 1324740 h 1608746"/>
              <a:gd name="connsiteX233" fmla="*/ 379232 w 1674165"/>
              <a:gd name="connsiteY233" fmla="*/ 1339457 h 1608746"/>
              <a:gd name="connsiteX234" fmla="*/ 321535 w 1674165"/>
              <a:gd name="connsiteY234" fmla="*/ 1508843 h 1608746"/>
              <a:gd name="connsiteX235" fmla="*/ 303550 w 1674165"/>
              <a:gd name="connsiteY235" fmla="*/ 1514665 h 1608746"/>
              <a:gd name="connsiteX236" fmla="*/ 266081 w 1674165"/>
              <a:gd name="connsiteY236" fmla="*/ 1464389 h 1608746"/>
              <a:gd name="connsiteX237" fmla="*/ 248492 w 1674165"/>
              <a:gd name="connsiteY237" fmla="*/ 1425784 h 1608746"/>
              <a:gd name="connsiteX238" fmla="*/ 228975 w 1674165"/>
              <a:gd name="connsiteY238" fmla="*/ 1464087 h 1608746"/>
              <a:gd name="connsiteX239" fmla="*/ 206065 w 1674165"/>
              <a:gd name="connsiteY239" fmla="*/ 1509750 h 1608746"/>
              <a:gd name="connsiteX240" fmla="*/ 171839 w 1674165"/>
              <a:gd name="connsiteY240" fmla="*/ 1507608 h 1608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1674165" h="1608746">
                <a:moveTo>
                  <a:pt x="61849" y="1606016"/>
                </a:moveTo>
                <a:cubicBezTo>
                  <a:pt x="34377" y="1597998"/>
                  <a:pt x="12384" y="1576938"/>
                  <a:pt x="4605" y="1551238"/>
                </a:cubicBezTo>
                <a:cubicBezTo>
                  <a:pt x="184" y="1536630"/>
                  <a:pt x="-436" y="1515735"/>
                  <a:pt x="385" y="1408898"/>
                </a:cubicBezTo>
                <a:cubicBezTo>
                  <a:pt x="1316" y="1287397"/>
                  <a:pt x="1554" y="1283279"/>
                  <a:pt x="8419" y="1271088"/>
                </a:cubicBezTo>
                <a:cubicBezTo>
                  <a:pt x="17820" y="1254393"/>
                  <a:pt x="34034" y="1239868"/>
                  <a:pt x="52055" y="1232043"/>
                </a:cubicBezTo>
                <a:cubicBezTo>
                  <a:pt x="66212" y="1225892"/>
                  <a:pt x="73065" y="1225645"/>
                  <a:pt x="230367" y="1225480"/>
                </a:cubicBezTo>
                <a:lnTo>
                  <a:pt x="393954" y="1225316"/>
                </a:lnTo>
                <a:lnTo>
                  <a:pt x="380868" y="1215321"/>
                </a:lnTo>
                <a:cubicBezTo>
                  <a:pt x="356928" y="1197062"/>
                  <a:pt x="300346" y="1142586"/>
                  <a:pt x="278877" y="1117105"/>
                </a:cubicBezTo>
                <a:cubicBezTo>
                  <a:pt x="135345" y="946730"/>
                  <a:pt x="85295" y="724982"/>
                  <a:pt x="142157" y="511307"/>
                </a:cubicBezTo>
                <a:cubicBezTo>
                  <a:pt x="190532" y="329538"/>
                  <a:pt x="323188" y="168773"/>
                  <a:pt x="498214" y="79783"/>
                </a:cubicBezTo>
                <a:cubicBezTo>
                  <a:pt x="671518" y="-8329"/>
                  <a:pt x="871896" y="-23760"/>
                  <a:pt x="1060689" y="36454"/>
                </a:cubicBezTo>
                <a:cubicBezTo>
                  <a:pt x="1120055" y="55400"/>
                  <a:pt x="1191050" y="89310"/>
                  <a:pt x="1195152" y="100706"/>
                </a:cubicBezTo>
                <a:cubicBezTo>
                  <a:pt x="1199609" y="113061"/>
                  <a:pt x="1195125" y="124731"/>
                  <a:pt x="1183743" y="130387"/>
                </a:cubicBezTo>
                <a:cubicBezTo>
                  <a:pt x="1173796" y="135330"/>
                  <a:pt x="1173156" y="135137"/>
                  <a:pt x="1125717" y="113418"/>
                </a:cubicBezTo>
                <a:cubicBezTo>
                  <a:pt x="1072504" y="89091"/>
                  <a:pt x="1043520" y="78520"/>
                  <a:pt x="1003311" y="68827"/>
                </a:cubicBezTo>
                <a:cubicBezTo>
                  <a:pt x="988470" y="65258"/>
                  <a:pt x="973682" y="61578"/>
                  <a:pt x="970452" y="60645"/>
                </a:cubicBezTo>
                <a:cubicBezTo>
                  <a:pt x="966971" y="59656"/>
                  <a:pt x="973217" y="69266"/>
                  <a:pt x="985779" y="84204"/>
                </a:cubicBezTo>
                <a:cubicBezTo>
                  <a:pt x="1044712" y="154330"/>
                  <a:pt x="1091999" y="263035"/>
                  <a:pt x="1118592" y="389505"/>
                </a:cubicBezTo>
                <a:cubicBezTo>
                  <a:pt x="1122409" y="407655"/>
                  <a:pt x="1126220" y="425694"/>
                  <a:pt x="1127060" y="429565"/>
                </a:cubicBezTo>
                <a:lnTo>
                  <a:pt x="1128587" y="436650"/>
                </a:lnTo>
                <a:lnTo>
                  <a:pt x="1285567" y="436650"/>
                </a:lnTo>
                <a:cubicBezTo>
                  <a:pt x="1371908" y="436650"/>
                  <a:pt x="1442548" y="435579"/>
                  <a:pt x="1442546" y="434289"/>
                </a:cubicBezTo>
                <a:cubicBezTo>
                  <a:pt x="1442540" y="428824"/>
                  <a:pt x="1405445" y="362102"/>
                  <a:pt x="1388347" y="336786"/>
                </a:cubicBezTo>
                <a:cubicBezTo>
                  <a:pt x="1363366" y="299828"/>
                  <a:pt x="1339544" y="271574"/>
                  <a:pt x="1301218" y="233463"/>
                </a:cubicBezTo>
                <a:cubicBezTo>
                  <a:pt x="1283579" y="215918"/>
                  <a:pt x="1269148" y="198921"/>
                  <a:pt x="1269148" y="195654"/>
                </a:cubicBezTo>
                <a:cubicBezTo>
                  <a:pt x="1269148" y="187279"/>
                  <a:pt x="1278220" y="175884"/>
                  <a:pt x="1287654" y="172452"/>
                </a:cubicBezTo>
                <a:cubicBezTo>
                  <a:pt x="1299807" y="168004"/>
                  <a:pt x="1309782" y="174567"/>
                  <a:pt x="1345738" y="210536"/>
                </a:cubicBezTo>
                <a:cubicBezTo>
                  <a:pt x="1568757" y="433739"/>
                  <a:pt x="1608530" y="774544"/>
                  <a:pt x="1442397" y="1038769"/>
                </a:cubicBezTo>
                <a:lnTo>
                  <a:pt x="1425376" y="1065842"/>
                </a:lnTo>
                <a:lnTo>
                  <a:pt x="1443350" y="1083607"/>
                </a:lnTo>
                <a:cubicBezTo>
                  <a:pt x="1579597" y="1218314"/>
                  <a:pt x="1666745" y="1307606"/>
                  <a:pt x="1670702" y="1316557"/>
                </a:cubicBezTo>
                <a:cubicBezTo>
                  <a:pt x="1680817" y="1339430"/>
                  <a:pt x="1668481" y="1368040"/>
                  <a:pt x="1643483" y="1379655"/>
                </a:cubicBezTo>
                <a:lnTo>
                  <a:pt x="1628728" y="1386519"/>
                </a:lnTo>
                <a:lnTo>
                  <a:pt x="1543084" y="1373779"/>
                </a:lnTo>
                <a:cubicBezTo>
                  <a:pt x="1495981" y="1366750"/>
                  <a:pt x="1456667" y="1362082"/>
                  <a:pt x="1455720" y="1363400"/>
                </a:cubicBezTo>
                <a:cubicBezTo>
                  <a:pt x="1454772" y="1364718"/>
                  <a:pt x="1431661" y="1394125"/>
                  <a:pt x="1404360" y="1428777"/>
                </a:cubicBezTo>
                <a:cubicBezTo>
                  <a:pt x="1352441" y="1494620"/>
                  <a:pt x="1343953" y="1502116"/>
                  <a:pt x="1321216" y="1502116"/>
                </a:cubicBezTo>
                <a:cubicBezTo>
                  <a:pt x="1305658" y="1502116"/>
                  <a:pt x="1283522" y="1490694"/>
                  <a:pt x="1275814" y="1478722"/>
                </a:cubicBezTo>
                <a:cubicBezTo>
                  <a:pt x="1269757" y="1469304"/>
                  <a:pt x="1269145" y="1463209"/>
                  <a:pt x="1269137" y="1412165"/>
                </a:cubicBezTo>
                <a:cubicBezTo>
                  <a:pt x="1269134" y="1381248"/>
                  <a:pt x="1268168" y="1327458"/>
                  <a:pt x="1266992" y="1292642"/>
                </a:cubicBezTo>
                <a:lnTo>
                  <a:pt x="1264856" y="1229352"/>
                </a:lnTo>
                <a:lnTo>
                  <a:pt x="1235100" y="1249012"/>
                </a:lnTo>
                <a:cubicBezTo>
                  <a:pt x="1195797" y="1275014"/>
                  <a:pt x="1157357" y="1295635"/>
                  <a:pt x="1117148" y="1312274"/>
                </a:cubicBezTo>
                <a:lnTo>
                  <a:pt x="1084292" y="1325866"/>
                </a:lnTo>
                <a:lnTo>
                  <a:pt x="1082655" y="1436767"/>
                </a:lnTo>
                <a:cubicBezTo>
                  <a:pt x="1081211" y="1534681"/>
                  <a:pt x="1080330" y="1549151"/>
                  <a:pt x="1075127" y="1560244"/>
                </a:cubicBezTo>
                <a:cubicBezTo>
                  <a:pt x="1067718" y="1576060"/>
                  <a:pt x="1052142" y="1591793"/>
                  <a:pt x="1035214" y="1600607"/>
                </a:cubicBezTo>
                <a:lnTo>
                  <a:pt x="1022128" y="1607389"/>
                </a:lnTo>
                <a:lnTo>
                  <a:pt x="664141" y="1608240"/>
                </a:lnTo>
                <a:lnTo>
                  <a:pt x="306156" y="1609064"/>
                </a:lnTo>
                <a:lnTo>
                  <a:pt x="298523" y="1602172"/>
                </a:lnTo>
                <a:cubicBezTo>
                  <a:pt x="288413" y="1593056"/>
                  <a:pt x="288363" y="1577762"/>
                  <a:pt x="298413" y="1568701"/>
                </a:cubicBezTo>
                <a:lnTo>
                  <a:pt x="305939" y="1561891"/>
                </a:lnTo>
                <a:lnTo>
                  <a:pt x="659868" y="1561068"/>
                </a:lnTo>
                <a:lnTo>
                  <a:pt x="1013797" y="1560244"/>
                </a:lnTo>
                <a:lnTo>
                  <a:pt x="1022869" y="1551540"/>
                </a:lnTo>
                <a:lnTo>
                  <a:pt x="1031938" y="1542808"/>
                </a:lnTo>
                <a:lnTo>
                  <a:pt x="1031938" y="1416915"/>
                </a:lnTo>
                <a:lnTo>
                  <a:pt x="1031938" y="1291022"/>
                </a:lnTo>
                <a:lnTo>
                  <a:pt x="1021255" y="1281851"/>
                </a:lnTo>
                <a:lnTo>
                  <a:pt x="1010571" y="1272680"/>
                </a:lnTo>
                <a:lnTo>
                  <a:pt x="541182" y="1272680"/>
                </a:lnTo>
                <a:lnTo>
                  <a:pt x="71788" y="1272680"/>
                </a:lnTo>
                <a:lnTo>
                  <a:pt x="61105" y="1281851"/>
                </a:lnTo>
                <a:lnTo>
                  <a:pt x="50421" y="1291022"/>
                </a:lnTo>
                <a:lnTo>
                  <a:pt x="50421" y="1416915"/>
                </a:lnTo>
                <a:lnTo>
                  <a:pt x="50421" y="1542808"/>
                </a:lnTo>
                <a:lnTo>
                  <a:pt x="59482" y="1551540"/>
                </a:lnTo>
                <a:lnTo>
                  <a:pt x="68546" y="1560244"/>
                </a:lnTo>
                <a:lnTo>
                  <a:pt x="132552" y="1561809"/>
                </a:lnTo>
                <a:cubicBezTo>
                  <a:pt x="191075" y="1563264"/>
                  <a:pt x="196954" y="1563923"/>
                  <a:pt x="201194" y="1569497"/>
                </a:cubicBezTo>
                <a:cubicBezTo>
                  <a:pt x="207959" y="1578394"/>
                  <a:pt x="206987" y="1595280"/>
                  <a:pt x="199285" y="1602666"/>
                </a:cubicBezTo>
                <a:cubicBezTo>
                  <a:pt x="193184" y="1608542"/>
                  <a:pt x="188585" y="1608954"/>
                  <a:pt x="131396" y="1608707"/>
                </a:cubicBezTo>
                <a:cubicBezTo>
                  <a:pt x="97656" y="1608570"/>
                  <a:pt x="66360" y="1607334"/>
                  <a:pt x="61849" y="1606016"/>
                </a:cubicBezTo>
                <a:close/>
                <a:moveTo>
                  <a:pt x="1373748" y="1390116"/>
                </a:moveTo>
                <a:cubicBezTo>
                  <a:pt x="1401587" y="1354586"/>
                  <a:pt x="1428089" y="1323724"/>
                  <a:pt x="1432639" y="1321527"/>
                </a:cubicBezTo>
                <a:cubicBezTo>
                  <a:pt x="1449547" y="1313372"/>
                  <a:pt x="1460058" y="1313812"/>
                  <a:pt x="1540915" y="1326113"/>
                </a:cubicBezTo>
                <a:cubicBezTo>
                  <a:pt x="1586366" y="1333032"/>
                  <a:pt x="1624326" y="1337947"/>
                  <a:pt x="1625273" y="1337041"/>
                </a:cubicBezTo>
                <a:cubicBezTo>
                  <a:pt x="1626221" y="1336135"/>
                  <a:pt x="1621067" y="1329408"/>
                  <a:pt x="1613818" y="1322104"/>
                </a:cubicBezTo>
                <a:cubicBezTo>
                  <a:pt x="1498081" y="1205381"/>
                  <a:pt x="1322484" y="1031986"/>
                  <a:pt x="1319217" y="1031217"/>
                </a:cubicBezTo>
                <a:cubicBezTo>
                  <a:pt x="1315743" y="1030394"/>
                  <a:pt x="1314961" y="1068340"/>
                  <a:pt x="1314997" y="1235502"/>
                </a:cubicBezTo>
                <a:cubicBezTo>
                  <a:pt x="1315051" y="1427734"/>
                  <a:pt x="1315795" y="1455164"/>
                  <a:pt x="1321059" y="1454807"/>
                </a:cubicBezTo>
                <a:cubicBezTo>
                  <a:pt x="1322199" y="1454724"/>
                  <a:pt x="1345908" y="1425619"/>
                  <a:pt x="1373748" y="1390116"/>
                </a:cubicBezTo>
                <a:close/>
                <a:moveTo>
                  <a:pt x="1127013" y="1255656"/>
                </a:moveTo>
                <a:cubicBezTo>
                  <a:pt x="1170707" y="1234843"/>
                  <a:pt x="1209858" y="1211175"/>
                  <a:pt x="1245427" y="1184019"/>
                </a:cubicBezTo>
                <a:lnTo>
                  <a:pt x="1265875" y="1168396"/>
                </a:lnTo>
                <a:lnTo>
                  <a:pt x="1265875" y="1097061"/>
                </a:lnTo>
                <a:cubicBezTo>
                  <a:pt x="1265875" y="1029241"/>
                  <a:pt x="1266243" y="1025012"/>
                  <a:pt x="1273236" y="1011860"/>
                </a:cubicBezTo>
                <a:cubicBezTo>
                  <a:pt x="1282805" y="993875"/>
                  <a:pt x="1294329" y="986132"/>
                  <a:pt x="1314247" y="984292"/>
                </a:cubicBezTo>
                <a:cubicBezTo>
                  <a:pt x="1336007" y="982288"/>
                  <a:pt x="1350090" y="989152"/>
                  <a:pt x="1372086" y="1012492"/>
                </a:cubicBezTo>
                <a:lnTo>
                  <a:pt x="1389739" y="1031245"/>
                </a:lnTo>
                <a:lnTo>
                  <a:pt x="1398795" y="1017571"/>
                </a:lnTo>
                <a:cubicBezTo>
                  <a:pt x="1409561" y="1001371"/>
                  <a:pt x="1442551" y="939783"/>
                  <a:pt x="1442551" y="935912"/>
                </a:cubicBezTo>
                <a:cubicBezTo>
                  <a:pt x="1442551" y="934429"/>
                  <a:pt x="1371908" y="933221"/>
                  <a:pt x="1285567" y="933221"/>
                </a:cubicBezTo>
                <a:lnTo>
                  <a:pt x="1128587" y="933221"/>
                </a:lnTo>
                <a:lnTo>
                  <a:pt x="1126914" y="940305"/>
                </a:lnTo>
                <a:cubicBezTo>
                  <a:pt x="1125995" y="944177"/>
                  <a:pt x="1122944" y="958674"/>
                  <a:pt x="1120135" y="972513"/>
                </a:cubicBezTo>
                <a:cubicBezTo>
                  <a:pt x="1102647" y="1058620"/>
                  <a:pt x="1066705" y="1160570"/>
                  <a:pt x="1035145" y="1213591"/>
                </a:cubicBezTo>
                <a:cubicBezTo>
                  <a:pt x="1025349" y="1230066"/>
                  <a:pt x="1025299" y="1230835"/>
                  <a:pt x="1033945" y="1233470"/>
                </a:cubicBezTo>
                <a:cubicBezTo>
                  <a:pt x="1043493" y="1236381"/>
                  <a:pt x="1065725" y="1256178"/>
                  <a:pt x="1071505" y="1266914"/>
                </a:cubicBezTo>
                <a:cubicBezTo>
                  <a:pt x="1074135" y="1271802"/>
                  <a:pt x="1078169" y="1275810"/>
                  <a:pt x="1080475" y="1275810"/>
                </a:cubicBezTo>
                <a:cubicBezTo>
                  <a:pt x="1082782" y="1275810"/>
                  <a:pt x="1103724" y="1266722"/>
                  <a:pt x="1127013" y="1255656"/>
                </a:cubicBezTo>
                <a:close/>
                <a:moveTo>
                  <a:pt x="621784" y="1201153"/>
                </a:moveTo>
                <a:cubicBezTo>
                  <a:pt x="587256" y="1135007"/>
                  <a:pt x="559876" y="1051893"/>
                  <a:pt x="539474" y="951288"/>
                </a:cubicBezTo>
                <a:lnTo>
                  <a:pt x="535812" y="933221"/>
                </a:lnTo>
                <a:lnTo>
                  <a:pt x="377337" y="933221"/>
                </a:lnTo>
                <a:lnTo>
                  <a:pt x="218860" y="933221"/>
                </a:lnTo>
                <a:lnTo>
                  <a:pt x="237267" y="968587"/>
                </a:lnTo>
                <a:cubicBezTo>
                  <a:pt x="287872" y="1065787"/>
                  <a:pt x="360868" y="1146787"/>
                  <a:pt x="454177" y="1209280"/>
                </a:cubicBezTo>
                <a:lnTo>
                  <a:pt x="478409" y="1225508"/>
                </a:lnTo>
                <a:lnTo>
                  <a:pt x="556454" y="1225508"/>
                </a:lnTo>
                <a:lnTo>
                  <a:pt x="634500" y="1225508"/>
                </a:lnTo>
                <a:close/>
                <a:moveTo>
                  <a:pt x="980145" y="1212163"/>
                </a:moveTo>
                <a:cubicBezTo>
                  <a:pt x="1015942" y="1157880"/>
                  <a:pt x="1055728" y="1049449"/>
                  <a:pt x="1074135" y="956011"/>
                </a:cubicBezTo>
                <a:lnTo>
                  <a:pt x="1078625" y="933221"/>
                </a:lnTo>
                <a:lnTo>
                  <a:pt x="831989" y="933221"/>
                </a:lnTo>
                <a:cubicBezTo>
                  <a:pt x="696337" y="933221"/>
                  <a:pt x="585351" y="933963"/>
                  <a:pt x="585351" y="934841"/>
                </a:cubicBezTo>
                <a:cubicBezTo>
                  <a:pt x="585351" y="935748"/>
                  <a:pt x="589069" y="953073"/>
                  <a:pt x="593613" y="973337"/>
                </a:cubicBezTo>
                <a:cubicBezTo>
                  <a:pt x="614198" y="1065237"/>
                  <a:pt x="641535" y="1139840"/>
                  <a:pt x="676513" y="1199560"/>
                </a:cubicBezTo>
                <a:lnTo>
                  <a:pt x="691683" y="1225480"/>
                </a:lnTo>
                <a:lnTo>
                  <a:pt x="831509" y="1225508"/>
                </a:lnTo>
                <a:lnTo>
                  <a:pt x="971337" y="1225508"/>
                </a:lnTo>
                <a:lnTo>
                  <a:pt x="980145" y="1212163"/>
                </a:lnTo>
                <a:close/>
                <a:moveTo>
                  <a:pt x="523596" y="849146"/>
                </a:moveTo>
                <a:cubicBezTo>
                  <a:pt x="516833" y="797004"/>
                  <a:pt x="516789" y="568941"/>
                  <a:pt x="523541" y="519133"/>
                </a:cubicBezTo>
                <a:lnTo>
                  <a:pt x="528329" y="483767"/>
                </a:lnTo>
                <a:lnTo>
                  <a:pt x="364512" y="483767"/>
                </a:lnTo>
                <a:lnTo>
                  <a:pt x="200694" y="483767"/>
                </a:lnTo>
                <a:lnTo>
                  <a:pt x="191962" y="514437"/>
                </a:lnTo>
                <a:cubicBezTo>
                  <a:pt x="171465" y="586376"/>
                  <a:pt x="163703" y="660457"/>
                  <a:pt x="169496" y="728826"/>
                </a:cubicBezTo>
                <a:cubicBezTo>
                  <a:pt x="173769" y="779211"/>
                  <a:pt x="179579" y="811968"/>
                  <a:pt x="191962" y="855434"/>
                </a:cubicBezTo>
                <a:lnTo>
                  <a:pt x="200694" y="886076"/>
                </a:lnTo>
                <a:lnTo>
                  <a:pt x="364545" y="886076"/>
                </a:lnTo>
                <a:lnTo>
                  <a:pt x="528398" y="886076"/>
                </a:lnTo>
                <a:lnTo>
                  <a:pt x="523607" y="849146"/>
                </a:lnTo>
                <a:close/>
                <a:moveTo>
                  <a:pt x="1087183" y="877427"/>
                </a:moveTo>
                <a:cubicBezTo>
                  <a:pt x="1101176" y="809223"/>
                  <a:pt x="1101173" y="560621"/>
                  <a:pt x="1087180" y="492416"/>
                </a:cubicBezTo>
                <a:lnTo>
                  <a:pt x="1085404" y="483740"/>
                </a:lnTo>
                <a:lnTo>
                  <a:pt x="831289" y="484536"/>
                </a:lnTo>
                <a:lnTo>
                  <a:pt x="577174" y="485359"/>
                </a:lnTo>
                <a:lnTo>
                  <a:pt x="573245" y="518364"/>
                </a:lnTo>
                <a:cubicBezTo>
                  <a:pt x="566479" y="575174"/>
                  <a:pt x="562964" y="683247"/>
                  <a:pt x="565782" y="747800"/>
                </a:cubicBezTo>
                <a:cubicBezTo>
                  <a:pt x="568206" y="803347"/>
                  <a:pt x="574126" y="872155"/>
                  <a:pt x="577341" y="882150"/>
                </a:cubicBezTo>
                <a:cubicBezTo>
                  <a:pt x="578338" y="885253"/>
                  <a:pt x="632139" y="886076"/>
                  <a:pt x="832006" y="886076"/>
                </a:cubicBezTo>
                <a:lnTo>
                  <a:pt x="1085409" y="886076"/>
                </a:lnTo>
                <a:close/>
                <a:moveTo>
                  <a:pt x="1472430" y="854363"/>
                </a:moveTo>
                <a:cubicBezTo>
                  <a:pt x="1487189" y="803237"/>
                  <a:pt x="1492192" y="768613"/>
                  <a:pt x="1494009" y="704993"/>
                </a:cubicBezTo>
                <a:cubicBezTo>
                  <a:pt x="1496244" y="626766"/>
                  <a:pt x="1489575" y="572867"/>
                  <a:pt x="1469374" y="505788"/>
                </a:cubicBezTo>
                <a:lnTo>
                  <a:pt x="1463221" y="485359"/>
                </a:lnTo>
                <a:lnTo>
                  <a:pt x="1298753" y="484536"/>
                </a:lnTo>
                <a:lnTo>
                  <a:pt x="1134281" y="483712"/>
                </a:lnTo>
                <a:lnTo>
                  <a:pt x="1136072" y="490824"/>
                </a:lnTo>
                <a:cubicBezTo>
                  <a:pt x="1149993" y="546041"/>
                  <a:pt x="1150133" y="810870"/>
                  <a:pt x="1136264" y="877455"/>
                </a:cubicBezTo>
                <a:lnTo>
                  <a:pt x="1134460" y="886131"/>
                </a:lnTo>
                <a:lnTo>
                  <a:pt x="1299085" y="885308"/>
                </a:lnTo>
                <a:lnTo>
                  <a:pt x="1463713" y="884511"/>
                </a:lnTo>
                <a:lnTo>
                  <a:pt x="1472417" y="854363"/>
                </a:lnTo>
                <a:close/>
                <a:moveTo>
                  <a:pt x="545510" y="388709"/>
                </a:moveTo>
                <a:cubicBezTo>
                  <a:pt x="574651" y="254276"/>
                  <a:pt x="626205" y="138817"/>
                  <a:pt x="685313" y="75664"/>
                </a:cubicBezTo>
                <a:lnTo>
                  <a:pt x="700423" y="59519"/>
                </a:lnTo>
                <a:lnTo>
                  <a:pt x="689509" y="61496"/>
                </a:lnTo>
                <a:cubicBezTo>
                  <a:pt x="667441" y="65477"/>
                  <a:pt x="602556" y="85357"/>
                  <a:pt x="575537" y="96395"/>
                </a:cubicBezTo>
                <a:cubicBezTo>
                  <a:pt x="428035" y="156637"/>
                  <a:pt x="309209" y="263776"/>
                  <a:pt x="237234" y="401449"/>
                </a:cubicBezTo>
                <a:cubicBezTo>
                  <a:pt x="228959" y="417264"/>
                  <a:pt x="222188" y="431680"/>
                  <a:pt x="222188" y="433437"/>
                </a:cubicBezTo>
                <a:cubicBezTo>
                  <a:pt x="222188" y="435551"/>
                  <a:pt x="274481" y="436622"/>
                  <a:pt x="378652" y="436622"/>
                </a:cubicBezTo>
                <a:lnTo>
                  <a:pt x="535120" y="436622"/>
                </a:lnTo>
                <a:close/>
                <a:moveTo>
                  <a:pt x="1077878" y="429565"/>
                </a:moveTo>
                <a:cubicBezTo>
                  <a:pt x="1076980" y="425667"/>
                  <a:pt x="1072389" y="405513"/>
                  <a:pt x="1067675" y="384782"/>
                </a:cubicBezTo>
                <a:cubicBezTo>
                  <a:pt x="1030382" y="220695"/>
                  <a:pt x="958923" y="95900"/>
                  <a:pt x="881243" y="59162"/>
                </a:cubicBezTo>
                <a:cubicBezTo>
                  <a:pt x="861275" y="49716"/>
                  <a:pt x="855663" y="48481"/>
                  <a:pt x="832437" y="48481"/>
                </a:cubicBezTo>
                <a:cubicBezTo>
                  <a:pt x="809603" y="48481"/>
                  <a:pt x="803271" y="49826"/>
                  <a:pt x="783688" y="58723"/>
                </a:cubicBezTo>
                <a:cubicBezTo>
                  <a:pt x="757947" y="70419"/>
                  <a:pt x="719627" y="105044"/>
                  <a:pt x="697609" y="136483"/>
                </a:cubicBezTo>
                <a:cubicBezTo>
                  <a:pt x="653750" y="199086"/>
                  <a:pt x="616457" y="292058"/>
                  <a:pt x="593742" y="395408"/>
                </a:cubicBezTo>
                <a:cubicBezTo>
                  <a:pt x="589129" y="416414"/>
                  <a:pt x="585351" y="434289"/>
                  <a:pt x="585351" y="435112"/>
                </a:cubicBezTo>
                <a:cubicBezTo>
                  <a:pt x="585351" y="435963"/>
                  <a:pt x="696538" y="436622"/>
                  <a:pt x="832431" y="436622"/>
                </a:cubicBezTo>
                <a:lnTo>
                  <a:pt x="1079511" y="436622"/>
                </a:lnTo>
                <a:close/>
                <a:moveTo>
                  <a:pt x="475633" y="1514802"/>
                </a:moveTo>
                <a:cubicBezTo>
                  <a:pt x="471973" y="1513374"/>
                  <a:pt x="467346" y="1510298"/>
                  <a:pt x="465355" y="1507937"/>
                </a:cubicBezTo>
                <a:cubicBezTo>
                  <a:pt x="460679" y="1502418"/>
                  <a:pt x="408677" y="1347804"/>
                  <a:pt x="408677" y="1339430"/>
                </a:cubicBezTo>
                <a:cubicBezTo>
                  <a:pt x="408677" y="1335943"/>
                  <a:pt x="411431" y="1329792"/>
                  <a:pt x="414798" y="1325811"/>
                </a:cubicBezTo>
                <a:cubicBezTo>
                  <a:pt x="422672" y="1316475"/>
                  <a:pt x="443235" y="1315651"/>
                  <a:pt x="449913" y="1324438"/>
                </a:cubicBezTo>
                <a:cubicBezTo>
                  <a:pt x="452376" y="1327678"/>
                  <a:pt x="461368" y="1350577"/>
                  <a:pt x="469894" y="1375344"/>
                </a:cubicBezTo>
                <a:cubicBezTo>
                  <a:pt x="478420" y="1400111"/>
                  <a:pt x="486278" y="1420375"/>
                  <a:pt x="487360" y="1420375"/>
                </a:cubicBezTo>
                <a:cubicBezTo>
                  <a:pt x="488442" y="1420375"/>
                  <a:pt x="496306" y="1403488"/>
                  <a:pt x="504837" y="1382868"/>
                </a:cubicBezTo>
                <a:cubicBezTo>
                  <a:pt x="513368" y="1362247"/>
                  <a:pt x="522099" y="1343988"/>
                  <a:pt x="524241" y="1342258"/>
                </a:cubicBezTo>
                <a:cubicBezTo>
                  <a:pt x="526383" y="1340555"/>
                  <a:pt x="532185" y="1338194"/>
                  <a:pt x="537135" y="1336986"/>
                </a:cubicBezTo>
                <a:cubicBezTo>
                  <a:pt x="551970" y="1333416"/>
                  <a:pt x="560370" y="1341626"/>
                  <a:pt x="573220" y="1372241"/>
                </a:cubicBezTo>
                <a:cubicBezTo>
                  <a:pt x="579609" y="1387481"/>
                  <a:pt x="587284" y="1405493"/>
                  <a:pt x="590271" y="1412247"/>
                </a:cubicBezTo>
                <a:lnTo>
                  <a:pt x="595702" y="1424548"/>
                </a:lnTo>
                <a:lnTo>
                  <a:pt x="611768" y="1377513"/>
                </a:lnTo>
                <a:cubicBezTo>
                  <a:pt x="620606" y="1351648"/>
                  <a:pt x="629882" y="1327815"/>
                  <a:pt x="632383" y="1324520"/>
                </a:cubicBezTo>
                <a:cubicBezTo>
                  <a:pt x="639129" y="1315651"/>
                  <a:pt x="659646" y="1316420"/>
                  <a:pt x="667567" y="1325811"/>
                </a:cubicBezTo>
                <a:cubicBezTo>
                  <a:pt x="670933" y="1329792"/>
                  <a:pt x="673687" y="1335970"/>
                  <a:pt x="673687" y="1339539"/>
                </a:cubicBezTo>
                <a:cubicBezTo>
                  <a:pt x="673687" y="1349863"/>
                  <a:pt x="621219" y="1503105"/>
                  <a:pt x="615604" y="1509173"/>
                </a:cubicBezTo>
                <a:cubicBezTo>
                  <a:pt x="612493" y="1512523"/>
                  <a:pt x="605815" y="1514665"/>
                  <a:pt x="598437" y="1514665"/>
                </a:cubicBezTo>
                <a:cubicBezTo>
                  <a:pt x="582671" y="1514665"/>
                  <a:pt x="579338" y="1510573"/>
                  <a:pt x="562520" y="1470677"/>
                </a:cubicBezTo>
                <a:cubicBezTo>
                  <a:pt x="539485" y="1416009"/>
                  <a:pt x="543159" y="1416695"/>
                  <a:pt x="523398" y="1463209"/>
                </a:cubicBezTo>
                <a:cubicBezTo>
                  <a:pt x="513944" y="1485449"/>
                  <a:pt x="503774" y="1505988"/>
                  <a:pt x="500795" y="1508843"/>
                </a:cubicBezTo>
                <a:cubicBezTo>
                  <a:pt x="493667" y="1515653"/>
                  <a:pt x="483873" y="1517959"/>
                  <a:pt x="475633" y="1514802"/>
                </a:cubicBezTo>
                <a:close/>
                <a:moveTo>
                  <a:pt x="770091" y="1514802"/>
                </a:moveTo>
                <a:cubicBezTo>
                  <a:pt x="766431" y="1513374"/>
                  <a:pt x="761673" y="1510189"/>
                  <a:pt x="759520" y="1507690"/>
                </a:cubicBezTo>
                <a:cubicBezTo>
                  <a:pt x="753770" y="1501045"/>
                  <a:pt x="703133" y="1349699"/>
                  <a:pt x="703133" y="1339183"/>
                </a:cubicBezTo>
                <a:cubicBezTo>
                  <a:pt x="703133" y="1323861"/>
                  <a:pt x="721675" y="1313455"/>
                  <a:pt x="737027" y="1320182"/>
                </a:cubicBezTo>
                <a:cubicBezTo>
                  <a:pt x="746305" y="1324245"/>
                  <a:pt x="748246" y="1328474"/>
                  <a:pt x="767867" y="1387371"/>
                </a:cubicBezTo>
                <a:lnTo>
                  <a:pt x="780429" y="1425097"/>
                </a:lnTo>
                <a:lnTo>
                  <a:pt x="791676" y="1398409"/>
                </a:lnTo>
                <a:cubicBezTo>
                  <a:pt x="816745" y="1338880"/>
                  <a:pt x="825215" y="1329545"/>
                  <a:pt x="845506" y="1339018"/>
                </a:cubicBezTo>
                <a:cubicBezTo>
                  <a:pt x="853167" y="1342587"/>
                  <a:pt x="857728" y="1350220"/>
                  <a:pt x="871135" y="1381879"/>
                </a:cubicBezTo>
                <a:cubicBezTo>
                  <a:pt x="880109" y="1403049"/>
                  <a:pt x="888384" y="1420375"/>
                  <a:pt x="889532" y="1420375"/>
                </a:cubicBezTo>
                <a:cubicBezTo>
                  <a:pt x="890680" y="1420375"/>
                  <a:pt x="898898" y="1398820"/>
                  <a:pt x="907797" y="1372434"/>
                </a:cubicBezTo>
                <a:cubicBezTo>
                  <a:pt x="922289" y="1329517"/>
                  <a:pt x="924963" y="1324081"/>
                  <a:pt x="933423" y="1320209"/>
                </a:cubicBezTo>
                <a:cubicBezTo>
                  <a:pt x="941586" y="1316475"/>
                  <a:pt x="944346" y="1316585"/>
                  <a:pt x="953786" y="1320896"/>
                </a:cubicBezTo>
                <a:cubicBezTo>
                  <a:pt x="972144" y="1329325"/>
                  <a:pt x="971573" y="1334240"/>
                  <a:pt x="942188" y="1421308"/>
                </a:cubicBezTo>
                <a:cubicBezTo>
                  <a:pt x="927481" y="1464884"/>
                  <a:pt x="913286" y="1503709"/>
                  <a:pt x="910641" y="1507580"/>
                </a:cubicBezTo>
                <a:cubicBezTo>
                  <a:pt x="904812" y="1516174"/>
                  <a:pt x="885056" y="1517355"/>
                  <a:pt x="876215" y="1509667"/>
                </a:cubicBezTo>
                <a:cubicBezTo>
                  <a:pt x="873055" y="1506921"/>
                  <a:pt x="862802" y="1486328"/>
                  <a:pt x="853431" y="1463895"/>
                </a:cubicBezTo>
                <a:cubicBezTo>
                  <a:pt x="844062" y="1441462"/>
                  <a:pt x="835311" y="1424274"/>
                  <a:pt x="833985" y="1425674"/>
                </a:cubicBezTo>
                <a:cubicBezTo>
                  <a:pt x="832659" y="1427075"/>
                  <a:pt x="824490" y="1445004"/>
                  <a:pt x="815830" y="1465515"/>
                </a:cubicBezTo>
                <a:cubicBezTo>
                  <a:pt x="807170" y="1486026"/>
                  <a:pt x="797780" y="1505356"/>
                  <a:pt x="794960" y="1508459"/>
                </a:cubicBezTo>
                <a:cubicBezTo>
                  <a:pt x="788493" y="1515598"/>
                  <a:pt x="778677" y="1518097"/>
                  <a:pt x="770091" y="1514774"/>
                </a:cubicBezTo>
                <a:close/>
                <a:moveTo>
                  <a:pt x="171839" y="1507580"/>
                </a:moveTo>
                <a:cubicBezTo>
                  <a:pt x="169258" y="1503709"/>
                  <a:pt x="155059" y="1464884"/>
                  <a:pt x="140287" y="1421308"/>
                </a:cubicBezTo>
                <a:cubicBezTo>
                  <a:pt x="110770" y="1334240"/>
                  <a:pt x="110196" y="1329325"/>
                  <a:pt x="128582" y="1320896"/>
                </a:cubicBezTo>
                <a:cubicBezTo>
                  <a:pt x="138019" y="1316585"/>
                  <a:pt x="140779" y="1316475"/>
                  <a:pt x="148944" y="1320209"/>
                </a:cubicBezTo>
                <a:cubicBezTo>
                  <a:pt x="157396" y="1324054"/>
                  <a:pt x="160089" y="1329545"/>
                  <a:pt x="174620" y="1372461"/>
                </a:cubicBezTo>
                <a:cubicBezTo>
                  <a:pt x="183549" y="1398820"/>
                  <a:pt x="191814" y="1420375"/>
                  <a:pt x="192986" y="1420375"/>
                </a:cubicBezTo>
                <a:cubicBezTo>
                  <a:pt x="194162" y="1420375"/>
                  <a:pt x="202152" y="1403763"/>
                  <a:pt x="210741" y="1383444"/>
                </a:cubicBezTo>
                <a:cubicBezTo>
                  <a:pt x="228948" y="1340391"/>
                  <a:pt x="229420" y="1339704"/>
                  <a:pt x="242177" y="1337014"/>
                </a:cubicBezTo>
                <a:cubicBezTo>
                  <a:pt x="258893" y="1333499"/>
                  <a:pt x="265626" y="1341022"/>
                  <a:pt x="284626" y="1384570"/>
                </a:cubicBezTo>
                <a:lnTo>
                  <a:pt x="302078" y="1424576"/>
                </a:lnTo>
                <a:lnTo>
                  <a:pt x="319047" y="1375125"/>
                </a:lnTo>
                <a:cubicBezTo>
                  <a:pt x="328380" y="1347942"/>
                  <a:pt x="336538" y="1325261"/>
                  <a:pt x="337175" y="1324740"/>
                </a:cubicBezTo>
                <a:cubicBezTo>
                  <a:pt x="353638" y="1311258"/>
                  <a:pt x="379232" y="1320209"/>
                  <a:pt x="379232" y="1339457"/>
                </a:cubicBezTo>
                <a:cubicBezTo>
                  <a:pt x="379232" y="1352170"/>
                  <a:pt x="328322" y="1501649"/>
                  <a:pt x="321535" y="1508843"/>
                </a:cubicBezTo>
                <a:cubicBezTo>
                  <a:pt x="318020" y="1512578"/>
                  <a:pt x="311565" y="1514665"/>
                  <a:pt x="303550" y="1514665"/>
                </a:cubicBezTo>
                <a:cubicBezTo>
                  <a:pt x="288133" y="1514665"/>
                  <a:pt x="286441" y="1512385"/>
                  <a:pt x="266081" y="1464389"/>
                </a:cubicBezTo>
                <a:cubicBezTo>
                  <a:pt x="257649" y="1444510"/>
                  <a:pt x="249736" y="1427129"/>
                  <a:pt x="248492" y="1425784"/>
                </a:cubicBezTo>
                <a:cubicBezTo>
                  <a:pt x="247248" y="1424466"/>
                  <a:pt x="238465" y="1441682"/>
                  <a:pt x="228975" y="1464087"/>
                </a:cubicBezTo>
                <a:cubicBezTo>
                  <a:pt x="219486" y="1486493"/>
                  <a:pt x="209175" y="1507031"/>
                  <a:pt x="206065" y="1509750"/>
                </a:cubicBezTo>
                <a:cubicBezTo>
                  <a:pt x="197286" y="1517383"/>
                  <a:pt x="177509" y="1516147"/>
                  <a:pt x="171839" y="1507608"/>
                </a:cubicBezTo>
                <a:close/>
              </a:path>
            </a:pathLst>
          </a:custGeom>
          <a:solidFill>
            <a:schemeClr val="bg1"/>
          </a:solidFill>
          <a:ln w="3201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BD72D0D9-4704-425D-892D-236885E5FB52}"/>
              </a:ext>
            </a:extLst>
          </p:cNvPr>
          <p:cNvSpPr/>
          <p:nvPr/>
        </p:nvSpPr>
        <p:spPr>
          <a:xfrm flipH="1">
            <a:off x="5885308" y="5524656"/>
            <a:ext cx="731520" cy="684851"/>
          </a:xfrm>
          <a:prstGeom prst="ellipse">
            <a:avLst/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975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9F1142F-AED8-4840-9BB0-BD0D11BBFCC4}"/>
              </a:ext>
            </a:extLst>
          </p:cNvPr>
          <p:cNvSpPr/>
          <p:nvPr/>
        </p:nvSpPr>
        <p:spPr>
          <a:xfrm>
            <a:off x="6047868" y="5676845"/>
            <a:ext cx="406400" cy="380473"/>
          </a:xfrm>
          <a:custGeom>
            <a:avLst/>
            <a:gdLst>
              <a:gd name="connsiteX0" fmla="*/ 200506 w 2268528"/>
              <a:gd name="connsiteY0" fmla="*/ 1509549 h 1517176"/>
              <a:gd name="connsiteX1" fmla="*/ 79852 w 2268528"/>
              <a:gd name="connsiteY1" fmla="*/ 1446122 h 1517176"/>
              <a:gd name="connsiteX2" fmla="*/ 290 w 2268528"/>
              <a:gd name="connsiteY2" fmla="*/ 1279860 h 1517176"/>
              <a:gd name="connsiteX3" fmla="*/ 86419 w 2268528"/>
              <a:gd name="connsiteY3" fmla="*/ 803715 h 1517176"/>
              <a:gd name="connsiteX4" fmla="*/ 99495 w 2268528"/>
              <a:gd name="connsiteY4" fmla="*/ 792440 h 1517176"/>
              <a:gd name="connsiteX5" fmla="*/ 144177 w 2268528"/>
              <a:gd name="connsiteY5" fmla="*/ 802407 h 1517176"/>
              <a:gd name="connsiteX6" fmla="*/ 108696 w 2268528"/>
              <a:gd name="connsiteY6" fmla="*/ 1037461 h 1517176"/>
              <a:gd name="connsiteX7" fmla="*/ 66727 w 2268528"/>
              <a:gd name="connsiteY7" fmla="*/ 1278029 h 1517176"/>
              <a:gd name="connsiteX8" fmla="*/ 157779 w 2268528"/>
              <a:gd name="connsiteY8" fmla="*/ 1428521 h 1517176"/>
              <a:gd name="connsiteX9" fmla="*/ 373432 w 2268528"/>
              <a:gd name="connsiteY9" fmla="*/ 1433025 h 1517176"/>
              <a:gd name="connsiteX10" fmla="*/ 447691 w 2268528"/>
              <a:gd name="connsiteY10" fmla="*/ 1362766 h 1517176"/>
              <a:gd name="connsiteX11" fmla="*/ 526055 w 2268528"/>
              <a:gd name="connsiteY11" fmla="*/ 1162435 h 1517176"/>
              <a:gd name="connsiteX12" fmla="*/ 601536 w 2268528"/>
              <a:gd name="connsiteY12" fmla="*/ 972425 h 1517176"/>
              <a:gd name="connsiteX13" fmla="*/ 666446 w 2268528"/>
              <a:gd name="connsiteY13" fmla="*/ 978776 h 1517176"/>
              <a:gd name="connsiteX14" fmla="*/ 907826 w 2268528"/>
              <a:gd name="connsiteY14" fmla="*/ 955684 h 1517176"/>
              <a:gd name="connsiteX15" fmla="*/ 931467 w 2268528"/>
              <a:gd name="connsiteY15" fmla="*/ 937562 h 1517176"/>
              <a:gd name="connsiteX16" fmla="*/ 1134571 w 2268528"/>
              <a:gd name="connsiteY16" fmla="*/ 937562 h 1517176"/>
              <a:gd name="connsiteX17" fmla="*/ 1337675 w 2268528"/>
              <a:gd name="connsiteY17" fmla="*/ 937562 h 1517176"/>
              <a:gd name="connsiteX18" fmla="*/ 1361289 w 2268528"/>
              <a:gd name="connsiteY18" fmla="*/ 955684 h 1517176"/>
              <a:gd name="connsiteX19" fmla="*/ 1602559 w 2268528"/>
              <a:gd name="connsiteY19" fmla="*/ 978845 h 1517176"/>
              <a:gd name="connsiteX20" fmla="*/ 1667387 w 2268528"/>
              <a:gd name="connsiteY20" fmla="*/ 972425 h 1517176"/>
              <a:gd name="connsiteX21" fmla="*/ 1706212 w 2268528"/>
              <a:gd name="connsiteY21" fmla="*/ 1063615 h 1517176"/>
              <a:gd name="connsiteX22" fmla="*/ 1732626 w 2268528"/>
              <a:gd name="connsiteY22" fmla="*/ 1160288 h 1517176"/>
              <a:gd name="connsiteX23" fmla="*/ 1699018 w 2268528"/>
              <a:gd name="connsiteY23" fmla="*/ 1179901 h 1517176"/>
              <a:gd name="connsiteX24" fmla="*/ 1648935 w 2268528"/>
              <a:gd name="connsiteY24" fmla="*/ 1099494 h 1517176"/>
              <a:gd name="connsiteX25" fmla="*/ 1625871 w 2268528"/>
              <a:gd name="connsiteY25" fmla="*/ 1037418 h 1517176"/>
              <a:gd name="connsiteX26" fmla="*/ 1597672 w 2268528"/>
              <a:gd name="connsiteY26" fmla="*/ 1046932 h 1517176"/>
              <a:gd name="connsiteX27" fmla="*/ 1422684 w 2268528"/>
              <a:gd name="connsiteY27" fmla="*/ 1052876 h 1517176"/>
              <a:gd name="connsiteX28" fmla="*/ 1332459 w 2268528"/>
              <a:gd name="connsiteY28" fmla="*/ 1011344 h 1517176"/>
              <a:gd name="connsiteX29" fmla="*/ 1311728 w 2268528"/>
              <a:gd name="connsiteY29" fmla="*/ 997154 h 1517176"/>
              <a:gd name="connsiteX30" fmla="*/ 1134571 w 2268528"/>
              <a:gd name="connsiteY30" fmla="*/ 997154 h 1517176"/>
              <a:gd name="connsiteX31" fmla="*/ 957387 w 2268528"/>
              <a:gd name="connsiteY31" fmla="*/ 997154 h 1517176"/>
              <a:gd name="connsiteX32" fmla="*/ 936656 w 2268528"/>
              <a:gd name="connsiteY32" fmla="*/ 1011344 h 1517176"/>
              <a:gd name="connsiteX33" fmla="*/ 846431 w 2268528"/>
              <a:gd name="connsiteY33" fmla="*/ 1052876 h 1517176"/>
              <a:gd name="connsiteX34" fmla="*/ 671773 w 2268528"/>
              <a:gd name="connsiteY34" fmla="*/ 1046720 h 1517176"/>
              <a:gd name="connsiteX35" fmla="*/ 644095 w 2268528"/>
              <a:gd name="connsiteY35" fmla="*/ 1038282 h 1517176"/>
              <a:gd name="connsiteX36" fmla="*/ 578169 w 2268528"/>
              <a:gd name="connsiteY36" fmla="*/ 1209964 h 1517176"/>
              <a:gd name="connsiteX37" fmla="*/ 498158 w 2268528"/>
              <a:gd name="connsiteY37" fmla="*/ 1403178 h 1517176"/>
              <a:gd name="connsiteX38" fmla="*/ 332036 w 2268528"/>
              <a:gd name="connsiteY38" fmla="*/ 1511499 h 1517176"/>
              <a:gd name="connsiteX39" fmla="*/ 200506 w 2268528"/>
              <a:gd name="connsiteY39" fmla="*/ 1509549 h 1517176"/>
              <a:gd name="connsiteX40" fmla="*/ 1935044 w 2268528"/>
              <a:gd name="connsiteY40" fmla="*/ 1511306 h 1517176"/>
              <a:gd name="connsiteX41" fmla="*/ 1770875 w 2268528"/>
              <a:gd name="connsiteY41" fmla="*/ 1403068 h 1517176"/>
              <a:gd name="connsiteX42" fmla="*/ 1714724 w 2268528"/>
              <a:gd name="connsiteY42" fmla="*/ 1254113 h 1517176"/>
              <a:gd name="connsiteX43" fmla="*/ 1767937 w 2268528"/>
              <a:gd name="connsiteY43" fmla="*/ 1241810 h 1517176"/>
              <a:gd name="connsiteX44" fmla="*/ 1792676 w 2268528"/>
              <a:gd name="connsiteY44" fmla="*/ 1295110 h 1517176"/>
              <a:gd name="connsiteX45" fmla="*/ 1853879 w 2268528"/>
              <a:gd name="connsiteY45" fmla="*/ 1401448 h 1517176"/>
              <a:gd name="connsiteX46" fmla="*/ 2001354 w 2268528"/>
              <a:gd name="connsiteY46" fmla="*/ 1457983 h 1517176"/>
              <a:gd name="connsiteX47" fmla="*/ 2202426 w 2268528"/>
              <a:gd name="connsiteY47" fmla="*/ 1278424 h 1517176"/>
              <a:gd name="connsiteX48" fmla="*/ 2034523 w 2268528"/>
              <a:gd name="connsiteY48" fmla="*/ 388577 h 1517176"/>
              <a:gd name="connsiteX49" fmla="*/ 1816152 w 2268528"/>
              <a:gd name="connsiteY49" fmla="*/ 192908 h 1517176"/>
              <a:gd name="connsiteX50" fmla="*/ 1553300 w 2268528"/>
              <a:gd name="connsiteY50" fmla="*/ 208510 h 1517176"/>
              <a:gd name="connsiteX51" fmla="*/ 1488473 w 2268528"/>
              <a:gd name="connsiteY51" fmla="*/ 244075 h 1517176"/>
              <a:gd name="connsiteX52" fmla="*/ 1463514 w 2268528"/>
              <a:gd name="connsiteY52" fmla="*/ 262088 h 1517176"/>
              <a:gd name="connsiteX53" fmla="*/ 1461592 w 2268528"/>
              <a:gd name="connsiteY53" fmla="*/ 298892 h 1517176"/>
              <a:gd name="connsiteX54" fmla="*/ 1395007 w 2268528"/>
              <a:gd name="connsiteY54" fmla="*/ 402923 h 1517176"/>
              <a:gd name="connsiteX55" fmla="*/ 1278394 w 2268528"/>
              <a:gd name="connsiteY55" fmla="*/ 413163 h 1517176"/>
              <a:gd name="connsiteX56" fmla="*/ 1170019 w 2268528"/>
              <a:gd name="connsiteY56" fmla="*/ 384664 h 1517176"/>
              <a:gd name="connsiteX57" fmla="*/ 1269718 w 2268528"/>
              <a:gd name="connsiteY57" fmla="*/ 356861 h 1517176"/>
              <a:gd name="connsiteX58" fmla="*/ 1367687 w 2268528"/>
              <a:gd name="connsiteY58" fmla="*/ 348780 h 1517176"/>
              <a:gd name="connsiteX59" fmla="*/ 1395996 w 2268528"/>
              <a:gd name="connsiteY59" fmla="*/ 298346 h 1517176"/>
              <a:gd name="connsiteX60" fmla="*/ 1395996 w 2268528"/>
              <a:gd name="connsiteY60" fmla="*/ 282063 h 1517176"/>
              <a:gd name="connsiteX61" fmla="*/ 1134571 w 2268528"/>
              <a:gd name="connsiteY61" fmla="*/ 282063 h 1517176"/>
              <a:gd name="connsiteX62" fmla="*/ 873120 w 2268528"/>
              <a:gd name="connsiteY62" fmla="*/ 282063 h 1517176"/>
              <a:gd name="connsiteX63" fmla="*/ 873120 w 2268528"/>
              <a:gd name="connsiteY63" fmla="*/ 298346 h 1517176"/>
              <a:gd name="connsiteX64" fmla="*/ 901428 w 2268528"/>
              <a:gd name="connsiteY64" fmla="*/ 348780 h 1517176"/>
              <a:gd name="connsiteX65" fmla="*/ 999425 w 2268528"/>
              <a:gd name="connsiteY65" fmla="*/ 356861 h 1517176"/>
              <a:gd name="connsiteX66" fmla="*/ 1099123 w 2268528"/>
              <a:gd name="connsiteY66" fmla="*/ 385353 h 1517176"/>
              <a:gd name="connsiteX67" fmla="*/ 989952 w 2268528"/>
              <a:gd name="connsiteY67" fmla="*/ 413163 h 1517176"/>
              <a:gd name="connsiteX68" fmla="*/ 874108 w 2268528"/>
              <a:gd name="connsiteY68" fmla="*/ 402923 h 1517176"/>
              <a:gd name="connsiteX69" fmla="*/ 807523 w 2268528"/>
              <a:gd name="connsiteY69" fmla="*/ 298892 h 1517176"/>
              <a:gd name="connsiteX70" fmla="*/ 805601 w 2268528"/>
              <a:gd name="connsiteY70" fmla="*/ 262088 h 1517176"/>
              <a:gd name="connsiteX71" fmla="*/ 780642 w 2268528"/>
              <a:gd name="connsiteY71" fmla="*/ 244075 h 1517176"/>
              <a:gd name="connsiteX72" fmla="*/ 715815 w 2268528"/>
              <a:gd name="connsiteY72" fmla="*/ 208510 h 1517176"/>
              <a:gd name="connsiteX73" fmla="*/ 452963 w 2268528"/>
              <a:gd name="connsiteY73" fmla="*/ 192908 h 1517176"/>
              <a:gd name="connsiteX74" fmla="*/ 235015 w 2268528"/>
              <a:gd name="connsiteY74" fmla="*/ 387635 h 1517176"/>
              <a:gd name="connsiteX75" fmla="*/ 197958 w 2268528"/>
              <a:gd name="connsiteY75" fmla="*/ 561464 h 1517176"/>
              <a:gd name="connsiteX76" fmla="*/ 161922 w 2268528"/>
              <a:gd name="connsiteY76" fmla="*/ 719084 h 1517176"/>
              <a:gd name="connsiteX77" fmla="*/ 106557 w 2268528"/>
              <a:gd name="connsiteY77" fmla="*/ 700721 h 1517176"/>
              <a:gd name="connsiteX78" fmla="*/ 169251 w 2268528"/>
              <a:gd name="connsiteY78" fmla="*/ 378376 h 1517176"/>
              <a:gd name="connsiteX79" fmla="*/ 384604 w 2268528"/>
              <a:gd name="connsiteY79" fmla="*/ 153424 h 1517176"/>
              <a:gd name="connsiteX80" fmla="*/ 407869 w 2268528"/>
              <a:gd name="connsiteY80" fmla="*/ 142883 h 1517176"/>
              <a:gd name="connsiteX81" fmla="*/ 407894 w 2268528"/>
              <a:gd name="connsiteY81" fmla="*/ 110176 h 1517176"/>
              <a:gd name="connsiteX82" fmla="*/ 433632 w 2268528"/>
              <a:gd name="connsiteY82" fmla="*/ 30878 h 1517176"/>
              <a:gd name="connsiteX83" fmla="*/ 569905 w 2268528"/>
              <a:gd name="connsiteY83" fmla="*/ 87 h 1517176"/>
              <a:gd name="connsiteX84" fmla="*/ 678445 w 2268528"/>
              <a:gd name="connsiteY84" fmla="*/ 10924 h 1517176"/>
              <a:gd name="connsiteX85" fmla="*/ 715787 w 2268528"/>
              <a:gd name="connsiteY85" fmla="*/ 39058 h 1517176"/>
              <a:gd name="connsiteX86" fmla="*/ 730587 w 2268528"/>
              <a:gd name="connsiteY86" fmla="*/ 101288 h 1517176"/>
              <a:gd name="connsiteX87" fmla="*/ 732070 w 2268528"/>
              <a:gd name="connsiteY87" fmla="*/ 146304 h 1517176"/>
              <a:gd name="connsiteX88" fmla="*/ 766639 w 2268528"/>
              <a:gd name="connsiteY88" fmla="*/ 164303 h 1517176"/>
              <a:gd name="connsiteX89" fmla="*/ 828089 w 2268528"/>
              <a:gd name="connsiteY89" fmla="*/ 202387 h 1517176"/>
              <a:gd name="connsiteX90" fmla="*/ 855025 w 2268528"/>
              <a:gd name="connsiteY90" fmla="*/ 222472 h 1517176"/>
              <a:gd name="connsiteX91" fmla="*/ 1134571 w 2268528"/>
              <a:gd name="connsiteY91" fmla="*/ 222472 h 1517176"/>
              <a:gd name="connsiteX92" fmla="*/ 1414090 w 2268528"/>
              <a:gd name="connsiteY92" fmla="*/ 222472 h 1517176"/>
              <a:gd name="connsiteX93" fmla="*/ 1440779 w 2268528"/>
              <a:gd name="connsiteY93" fmla="*/ 202568 h 1517176"/>
              <a:gd name="connsiteX94" fmla="*/ 1502229 w 2268528"/>
              <a:gd name="connsiteY94" fmla="*/ 164673 h 1517176"/>
              <a:gd name="connsiteX95" fmla="*/ 1537018 w 2268528"/>
              <a:gd name="connsiteY95" fmla="*/ 146683 h 1517176"/>
              <a:gd name="connsiteX96" fmla="*/ 1538501 w 2268528"/>
              <a:gd name="connsiteY96" fmla="*/ 101477 h 1517176"/>
              <a:gd name="connsiteX97" fmla="*/ 1553328 w 2268528"/>
              <a:gd name="connsiteY97" fmla="*/ 39058 h 1517176"/>
              <a:gd name="connsiteX98" fmla="*/ 1590670 w 2268528"/>
              <a:gd name="connsiteY98" fmla="*/ 10924 h 1517176"/>
              <a:gd name="connsiteX99" fmla="*/ 1699210 w 2268528"/>
              <a:gd name="connsiteY99" fmla="*/ 87 h 1517176"/>
              <a:gd name="connsiteX100" fmla="*/ 1835482 w 2268528"/>
              <a:gd name="connsiteY100" fmla="*/ 30878 h 1517176"/>
              <a:gd name="connsiteX101" fmla="*/ 1861210 w 2268528"/>
              <a:gd name="connsiteY101" fmla="*/ 110176 h 1517176"/>
              <a:gd name="connsiteX102" fmla="*/ 1861238 w 2268528"/>
              <a:gd name="connsiteY102" fmla="*/ 142883 h 1517176"/>
              <a:gd name="connsiteX103" fmla="*/ 1884522 w 2268528"/>
              <a:gd name="connsiteY103" fmla="*/ 153424 h 1517176"/>
              <a:gd name="connsiteX104" fmla="*/ 2041003 w 2268528"/>
              <a:gd name="connsiteY104" fmla="*/ 272415 h 1517176"/>
              <a:gd name="connsiteX105" fmla="*/ 2104787 w 2268528"/>
              <a:gd name="connsiteY105" fmla="*/ 395285 h 1517176"/>
              <a:gd name="connsiteX106" fmla="*/ 2268819 w 2268528"/>
              <a:gd name="connsiteY106" fmla="*/ 1280132 h 1517176"/>
              <a:gd name="connsiteX107" fmla="*/ 2239247 w 2268528"/>
              <a:gd name="connsiteY107" fmla="*/ 1385970 h 1517176"/>
              <a:gd name="connsiteX108" fmla="*/ 2128510 w 2268528"/>
              <a:gd name="connsiteY108" fmla="*/ 1488928 h 1517176"/>
              <a:gd name="connsiteX109" fmla="*/ 1935044 w 2268528"/>
              <a:gd name="connsiteY109" fmla="*/ 1511306 h 1517176"/>
              <a:gd name="connsiteX110" fmla="*/ 664881 w 2268528"/>
              <a:gd name="connsiteY110" fmla="*/ 101301 h 1517176"/>
              <a:gd name="connsiteX111" fmla="*/ 571003 w 2268528"/>
              <a:gd name="connsiteY111" fmla="*/ 59588 h 1517176"/>
              <a:gd name="connsiteX112" fmla="*/ 484594 w 2268528"/>
              <a:gd name="connsiteY112" fmla="*/ 68226 h 1517176"/>
              <a:gd name="connsiteX113" fmla="*/ 474325 w 2268528"/>
              <a:gd name="connsiteY113" fmla="*/ 100324 h 1517176"/>
              <a:gd name="connsiteX114" fmla="*/ 474325 w 2268528"/>
              <a:gd name="connsiteY114" fmla="*/ 123786 h 1517176"/>
              <a:gd name="connsiteX115" fmla="*/ 504253 w 2268528"/>
              <a:gd name="connsiteY115" fmla="*/ 120489 h 1517176"/>
              <a:gd name="connsiteX116" fmla="*/ 636078 w 2268528"/>
              <a:gd name="connsiteY116" fmla="*/ 122523 h 1517176"/>
              <a:gd name="connsiteX117" fmla="*/ 664881 w 2268528"/>
              <a:gd name="connsiteY117" fmla="*/ 101304 h 1517176"/>
              <a:gd name="connsiteX118" fmla="*/ 1665520 w 2268528"/>
              <a:gd name="connsiteY118" fmla="*/ 118715 h 1517176"/>
              <a:gd name="connsiteX119" fmla="*/ 1745586 w 2268528"/>
              <a:gd name="connsiteY119" fmla="*/ 118701 h 1517176"/>
              <a:gd name="connsiteX120" fmla="*/ 1789546 w 2268528"/>
              <a:gd name="connsiteY120" fmla="*/ 123152 h 1517176"/>
              <a:gd name="connsiteX121" fmla="*/ 1785592 w 2268528"/>
              <a:gd name="connsiteY121" fmla="*/ 70057 h 1517176"/>
              <a:gd name="connsiteX122" fmla="*/ 1776421 w 2268528"/>
              <a:gd name="connsiteY122" fmla="*/ 59588 h 1517176"/>
              <a:gd name="connsiteX123" fmla="*/ 1699183 w 2268528"/>
              <a:gd name="connsiteY123" fmla="*/ 59588 h 1517176"/>
              <a:gd name="connsiteX124" fmla="*/ 1604262 w 2268528"/>
              <a:gd name="connsiteY124" fmla="*/ 101765 h 1517176"/>
              <a:gd name="connsiteX125" fmla="*/ 1614229 w 2268528"/>
              <a:gd name="connsiteY125" fmla="*/ 125615 h 1517176"/>
              <a:gd name="connsiteX126" fmla="*/ 1665520 w 2268528"/>
              <a:gd name="connsiteY126" fmla="*/ 118715 h 1517176"/>
              <a:gd name="connsiteX127" fmla="*/ 737561 w 2268528"/>
              <a:gd name="connsiteY127" fmla="*/ 935154 h 1517176"/>
              <a:gd name="connsiteX128" fmla="*/ 656122 w 2268528"/>
              <a:gd name="connsiteY128" fmla="*/ 872482 h 1517176"/>
              <a:gd name="connsiteX129" fmla="*/ 640883 w 2268528"/>
              <a:gd name="connsiteY129" fmla="*/ 817012 h 1517176"/>
              <a:gd name="connsiteX130" fmla="*/ 769000 w 2268528"/>
              <a:gd name="connsiteY130" fmla="*/ 696201 h 1517176"/>
              <a:gd name="connsiteX131" fmla="*/ 912054 w 2268528"/>
              <a:gd name="connsiteY131" fmla="*/ 808662 h 1517176"/>
              <a:gd name="connsiteX132" fmla="*/ 877266 w 2268528"/>
              <a:gd name="connsiteY132" fmla="*/ 899344 h 1517176"/>
              <a:gd name="connsiteX133" fmla="*/ 737561 w 2268528"/>
              <a:gd name="connsiteY133" fmla="*/ 935154 h 1517176"/>
              <a:gd name="connsiteX134" fmla="*/ 814937 w 2268528"/>
              <a:gd name="connsiteY134" fmla="*/ 871093 h 1517176"/>
              <a:gd name="connsiteX135" fmla="*/ 846540 w 2268528"/>
              <a:gd name="connsiteY135" fmla="*/ 819387 h 1517176"/>
              <a:gd name="connsiteX136" fmla="*/ 782317 w 2268528"/>
              <a:gd name="connsiteY136" fmla="*/ 755647 h 1517176"/>
              <a:gd name="connsiteX137" fmla="*/ 706616 w 2268528"/>
              <a:gd name="connsiteY137" fmla="*/ 810796 h 1517176"/>
              <a:gd name="connsiteX138" fmla="*/ 814937 w 2268528"/>
              <a:gd name="connsiteY138" fmla="*/ 871093 h 1517176"/>
              <a:gd name="connsiteX139" fmla="*/ 1461290 w 2268528"/>
              <a:gd name="connsiteY139" fmla="*/ 937214 h 1517176"/>
              <a:gd name="connsiteX140" fmla="*/ 1390257 w 2268528"/>
              <a:gd name="connsiteY140" fmla="*/ 897916 h 1517176"/>
              <a:gd name="connsiteX141" fmla="*/ 1357061 w 2268528"/>
              <a:gd name="connsiteY141" fmla="*/ 808662 h 1517176"/>
              <a:gd name="connsiteX142" fmla="*/ 1618897 w 2268528"/>
              <a:gd name="connsiteY142" fmla="*/ 770222 h 1517176"/>
              <a:gd name="connsiteX143" fmla="*/ 1628232 w 2268528"/>
              <a:gd name="connsiteY143" fmla="*/ 817012 h 1517176"/>
              <a:gd name="connsiteX144" fmla="*/ 1612993 w 2268528"/>
              <a:gd name="connsiteY144" fmla="*/ 872482 h 1517176"/>
              <a:gd name="connsiteX145" fmla="*/ 1461290 w 2268528"/>
              <a:gd name="connsiteY145" fmla="*/ 937214 h 1517176"/>
              <a:gd name="connsiteX146" fmla="*/ 1524662 w 2268528"/>
              <a:gd name="connsiteY146" fmla="*/ 872798 h 1517176"/>
              <a:gd name="connsiteX147" fmla="*/ 1548633 w 2268528"/>
              <a:gd name="connsiteY147" fmla="*/ 780005 h 1517176"/>
              <a:gd name="connsiteX148" fmla="*/ 1493250 w 2268528"/>
              <a:gd name="connsiteY148" fmla="*/ 754818 h 1517176"/>
              <a:gd name="connsiteX149" fmla="*/ 1423645 w 2268528"/>
              <a:gd name="connsiteY149" fmla="*/ 808577 h 1517176"/>
              <a:gd name="connsiteX150" fmla="*/ 1438967 w 2268528"/>
              <a:gd name="connsiteY150" fmla="*/ 858328 h 1517176"/>
              <a:gd name="connsiteX151" fmla="*/ 1524662 w 2268528"/>
              <a:gd name="connsiteY151" fmla="*/ 872798 h 1517176"/>
              <a:gd name="connsiteX152" fmla="*/ 1686086 w 2268528"/>
              <a:gd name="connsiteY152" fmla="*/ 721446 h 1517176"/>
              <a:gd name="connsiteX153" fmla="*/ 1636277 w 2268528"/>
              <a:gd name="connsiteY153" fmla="*/ 675482 h 1517176"/>
              <a:gd name="connsiteX154" fmla="*/ 1636277 w 2268528"/>
              <a:gd name="connsiteY154" fmla="*/ 607705 h 1517176"/>
              <a:gd name="connsiteX155" fmla="*/ 1687047 w 2268528"/>
              <a:gd name="connsiteY155" fmla="*/ 561571 h 1517176"/>
              <a:gd name="connsiteX156" fmla="*/ 1723895 w 2268528"/>
              <a:gd name="connsiteY156" fmla="*/ 556181 h 1517176"/>
              <a:gd name="connsiteX157" fmla="*/ 1767278 w 2268528"/>
              <a:gd name="connsiteY157" fmla="*/ 719428 h 1517176"/>
              <a:gd name="connsiteX158" fmla="*/ 1686086 w 2268528"/>
              <a:gd name="connsiteY158" fmla="*/ 721446 h 1517176"/>
              <a:gd name="connsiteX159" fmla="*/ 1746794 w 2268528"/>
              <a:gd name="connsiteY159" fmla="*/ 660841 h 1517176"/>
              <a:gd name="connsiteX160" fmla="*/ 1747563 w 2268528"/>
              <a:gd name="connsiteY160" fmla="*/ 623038 h 1517176"/>
              <a:gd name="connsiteX161" fmla="*/ 1702066 w 2268528"/>
              <a:gd name="connsiteY161" fmla="*/ 626239 h 1517176"/>
              <a:gd name="connsiteX162" fmla="*/ 1692867 w 2268528"/>
              <a:gd name="connsiteY162" fmla="*/ 641594 h 1517176"/>
              <a:gd name="connsiteX163" fmla="*/ 1702066 w 2268528"/>
              <a:gd name="connsiteY163" fmla="*/ 656951 h 1517176"/>
              <a:gd name="connsiteX164" fmla="*/ 1746794 w 2268528"/>
              <a:gd name="connsiteY164" fmla="*/ 660841 h 1517176"/>
              <a:gd name="connsiteX165" fmla="*/ 525286 w 2268528"/>
              <a:gd name="connsiteY165" fmla="*/ 679817 h 1517176"/>
              <a:gd name="connsiteX166" fmla="*/ 463479 w 2268528"/>
              <a:gd name="connsiteY166" fmla="*/ 605322 h 1517176"/>
              <a:gd name="connsiteX167" fmla="*/ 439398 w 2268528"/>
              <a:gd name="connsiteY167" fmla="*/ 586412 h 1517176"/>
              <a:gd name="connsiteX168" fmla="*/ 354725 w 2268528"/>
              <a:gd name="connsiteY168" fmla="*/ 516541 h 1517176"/>
              <a:gd name="connsiteX169" fmla="*/ 442611 w 2268528"/>
              <a:gd name="connsiteY169" fmla="*/ 402871 h 1517176"/>
              <a:gd name="connsiteX170" fmla="*/ 463479 w 2268528"/>
              <a:gd name="connsiteY170" fmla="*/ 383895 h 1517176"/>
              <a:gd name="connsiteX171" fmla="*/ 578554 w 2268528"/>
              <a:gd name="connsiteY171" fmla="*/ 303304 h 1517176"/>
              <a:gd name="connsiteX172" fmla="*/ 641322 w 2268528"/>
              <a:gd name="connsiteY172" fmla="*/ 330342 h 1517176"/>
              <a:gd name="connsiteX173" fmla="*/ 669192 w 2268528"/>
              <a:gd name="connsiteY173" fmla="*/ 387822 h 1517176"/>
              <a:gd name="connsiteX174" fmla="*/ 690663 w 2268528"/>
              <a:gd name="connsiteY174" fmla="*/ 402761 h 1517176"/>
              <a:gd name="connsiteX175" fmla="*/ 765348 w 2268528"/>
              <a:gd name="connsiteY175" fmla="*/ 445285 h 1517176"/>
              <a:gd name="connsiteX176" fmla="*/ 774546 w 2268528"/>
              <a:gd name="connsiteY176" fmla="*/ 528531 h 1517176"/>
              <a:gd name="connsiteX177" fmla="*/ 683689 w 2268528"/>
              <a:gd name="connsiteY177" fmla="*/ 587925 h 1517176"/>
              <a:gd name="connsiteX178" fmla="*/ 669301 w 2268528"/>
              <a:gd name="connsiteY178" fmla="*/ 598427 h 1517176"/>
              <a:gd name="connsiteX179" fmla="*/ 600108 w 2268528"/>
              <a:gd name="connsiteY179" fmla="*/ 682426 h 1517176"/>
              <a:gd name="connsiteX180" fmla="*/ 525286 w 2268528"/>
              <a:gd name="connsiteY180" fmla="*/ 679817 h 1517176"/>
              <a:gd name="connsiteX181" fmla="*/ 590114 w 2268528"/>
              <a:gd name="connsiteY181" fmla="*/ 620135 h 1517176"/>
              <a:gd name="connsiteX182" fmla="*/ 603074 w 2268528"/>
              <a:gd name="connsiteY182" fmla="*/ 577851 h 1517176"/>
              <a:gd name="connsiteX183" fmla="*/ 658922 w 2268528"/>
              <a:gd name="connsiteY183" fmla="*/ 528372 h 1517176"/>
              <a:gd name="connsiteX184" fmla="*/ 702745 w 2268528"/>
              <a:gd name="connsiteY184" fmla="*/ 518619 h 1517176"/>
              <a:gd name="connsiteX185" fmla="*/ 705381 w 2268528"/>
              <a:gd name="connsiteY185" fmla="*/ 472471 h 1517176"/>
              <a:gd name="connsiteX186" fmla="*/ 659005 w 2268528"/>
              <a:gd name="connsiteY186" fmla="*/ 461093 h 1517176"/>
              <a:gd name="connsiteX187" fmla="*/ 603046 w 2268528"/>
              <a:gd name="connsiteY187" fmla="*/ 410884 h 1517176"/>
              <a:gd name="connsiteX188" fmla="*/ 590114 w 2268528"/>
              <a:gd name="connsiteY188" fmla="*/ 369074 h 1517176"/>
              <a:gd name="connsiteX189" fmla="*/ 542255 w 2268528"/>
              <a:gd name="connsiteY189" fmla="*/ 371020 h 1517176"/>
              <a:gd name="connsiteX190" fmla="*/ 528279 w 2268528"/>
              <a:gd name="connsiteY190" fmla="*/ 411740 h 1517176"/>
              <a:gd name="connsiteX191" fmla="*/ 475423 w 2268528"/>
              <a:gd name="connsiteY191" fmla="*/ 460834 h 1517176"/>
              <a:gd name="connsiteX192" fmla="*/ 429679 w 2268528"/>
              <a:gd name="connsiteY192" fmla="*/ 472449 h 1517176"/>
              <a:gd name="connsiteX193" fmla="*/ 429679 w 2268528"/>
              <a:gd name="connsiteY193" fmla="*/ 516760 h 1517176"/>
              <a:gd name="connsiteX194" fmla="*/ 473391 w 2268528"/>
              <a:gd name="connsiteY194" fmla="*/ 528372 h 1517176"/>
              <a:gd name="connsiteX195" fmla="*/ 528169 w 2268528"/>
              <a:gd name="connsiteY195" fmla="*/ 575698 h 1517176"/>
              <a:gd name="connsiteX196" fmla="*/ 540470 w 2268528"/>
              <a:gd name="connsiteY196" fmla="*/ 617456 h 1517176"/>
              <a:gd name="connsiteX197" fmla="*/ 590114 w 2268528"/>
              <a:gd name="connsiteY197" fmla="*/ 620135 h 1517176"/>
              <a:gd name="connsiteX198" fmla="*/ 923257 w 2268528"/>
              <a:gd name="connsiteY198" fmla="*/ 607953 h 1517176"/>
              <a:gd name="connsiteX199" fmla="*/ 913180 w 2268528"/>
              <a:gd name="connsiteY199" fmla="*/ 560904 h 1517176"/>
              <a:gd name="connsiteX200" fmla="*/ 986300 w 2268528"/>
              <a:gd name="connsiteY200" fmla="*/ 552208 h 1517176"/>
              <a:gd name="connsiteX201" fmla="*/ 1059227 w 2268528"/>
              <a:gd name="connsiteY201" fmla="*/ 560154 h 1517176"/>
              <a:gd name="connsiteX202" fmla="*/ 1059639 w 2268528"/>
              <a:gd name="connsiteY202" fmla="*/ 600435 h 1517176"/>
              <a:gd name="connsiteX203" fmla="*/ 992066 w 2268528"/>
              <a:gd name="connsiteY203" fmla="*/ 610709 h 1517176"/>
              <a:gd name="connsiteX204" fmla="*/ 923257 w 2268528"/>
              <a:gd name="connsiteY204" fmla="*/ 607953 h 1517176"/>
              <a:gd name="connsiteX205" fmla="*/ 1220157 w 2268528"/>
              <a:gd name="connsiteY205" fmla="*/ 607953 h 1517176"/>
              <a:gd name="connsiteX206" fmla="*/ 1209888 w 2268528"/>
              <a:gd name="connsiteY206" fmla="*/ 560154 h 1517176"/>
              <a:gd name="connsiteX207" fmla="*/ 1282815 w 2268528"/>
              <a:gd name="connsiteY207" fmla="*/ 552208 h 1517176"/>
              <a:gd name="connsiteX208" fmla="*/ 1355935 w 2268528"/>
              <a:gd name="connsiteY208" fmla="*/ 560904 h 1517176"/>
              <a:gd name="connsiteX209" fmla="*/ 1356511 w 2268528"/>
              <a:gd name="connsiteY209" fmla="*/ 600435 h 1517176"/>
              <a:gd name="connsiteX210" fmla="*/ 1288938 w 2268528"/>
              <a:gd name="connsiteY210" fmla="*/ 610709 h 1517176"/>
              <a:gd name="connsiteX211" fmla="*/ 1220157 w 2268528"/>
              <a:gd name="connsiteY211" fmla="*/ 607953 h 1517176"/>
              <a:gd name="connsiteX212" fmla="*/ 1522136 w 2268528"/>
              <a:gd name="connsiteY212" fmla="*/ 574454 h 1517176"/>
              <a:gd name="connsiteX213" fmla="*/ 1472904 w 2268528"/>
              <a:gd name="connsiteY213" fmla="*/ 529613 h 1517176"/>
              <a:gd name="connsiteX214" fmla="*/ 1471010 w 2268528"/>
              <a:gd name="connsiteY214" fmla="*/ 463523 h 1517176"/>
              <a:gd name="connsiteX215" fmla="*/ 1522246 w 2268528"/>
              <a:gd name="connsiteY215" fmla="*/ 416597 h 1517176"/>
              <a:gd name="connsiteX216" fmla="*/ 1561180 w 2268528"/>
              <a:gd name="connsiteY216" fmla="*/ 409277 h 1517176"/>
              <a:gd name="connsiteX217" fmla="*/ 1603328 w 2268528"/>
              <a:gd name="connsiteY217" fmla="*/ 572436 h 1517176"/>
              <a:gd name="connsiteX218" fmla="*/ 1522136 w 2268528"/>
              <a:gd name="connsiteY218" fmla="*/ 574454 h 1517176"/>
              <a:gd name="connsiteX219" fmla="*/ 1583202 w 2268528"/>
              <a:gd name="connsiteY219" fmla="*/ 513248 h 1517176"/>
              <a:gd name="connsiteX220" fmla="*/ 1583613 w 2268528"/>
              <a:gd name="connsiteY220" fmla="*/ 476046 h 1517176"/>
              <a:gd name="connsiteX221" fmla="*/ 1562142 w 2268528"/>
              <a:gd name="connsiteY221" fmla="*/ 468781 h 1517176"/>
              <a:gd name="connsiteX222" fmla="*/ 1553135 w 2268528"/>
              <a:gd name="connsiteY222" fmla="*/ 520349 h 1517176"/>
              <a:gd name="connsiteX223" fmla="*/ 1583202 w 2268528"/>
              <a:gd name="connsiteY223" fmla="*/ 513248 h 1517176"/>
              <a:gd name="connsiteX224" fmla="*/ 1844159 w 2268528"/>
              <a:gd name="connsiteY224" fmla="*/ 571442 h 1517176"/>
              <a:gd name="connsiteX225" fmla="*/ 1794900 w 2268528"/>
              <a:gd name="connsiteY225" fmla="*/ 512886 h 1517176"/>
              <a:gd name="connsiteX226" fmla="*/ 1887460 w 2268528"/>
              <a:gd name="connsiteY226" fmla="*/ 409189 h 1517176"/>
              <a:gd name="connsiteX227" fmla="*/ 1931227 w 2268528"/>
              <a:gd name="connsiteY227" fmla="*/ 572436 h 1517176"/>
              <a:gd name="connsiteX228" fmla="*/ 1844159 w 2268528"/>
              <a:gd name="connsiteY228" fmla="*/ 571442 h 1517176"/>
              <a:gd name="connsiteX229" fmla="*/ 1911101 w 2268528"/>
              <a:gd name="connsiteY229" fmla="*/ 513248 h 1517176"/>
              <a:gd name="connsiteX230" fmla="*/ 1911787 w 2268528"/>
              <a:gd name="connsiteY230" fmla="*/ 477394 h 1517176"/>
              <a:gd name="connsiteX231" fmla="*/ 1864368 w 2268528"/>
              <a:gd name="connsiteY231" fmla="*/ 481439 h 1517176"/>
              <a:gd name="connsiteX232" fmla="*/ 1861046 w 2268528"/>
              <a:gd name="connsiteY232" fmla="*/ 504086 h 1517176"/>
              <a:gd name="connsiteX233" fmla="*/ 1911101 w 2268528"/>
              <a:gd name="connsiteY233" fmla="*/ 513248 h 1517176"/>
              <a:gd name="connsiteX234" fmla="*/ 1706157 w 2268528"/>
              <a:gd name="connsiteY234" fmla="*/ 432278 h 1517176"/>
              <a:gd name="connsiteX235" fmla="*/ 1629907 w 2268528"/>
              <a:gd name="connsiteY235" fmla="*/ 348631 h 1517176"/>
              <a:gd name="connsiteX236" fmla="*/ 1653768 w 2268528"/>
              <a:gd name="connsiteY236" fmla="*/ 291811 h 1517176"/>
              <a:gd name="connsiteX237" fmla="*/ 1821259 w 2268528"/>
              <a:gd name="connsiteY237" fmla="*/ 346748 h 1517176"/>
              <a:gd name="connsiteX238" fmla="*/ 1706157 w 2268528"/>
              <a:gd name="connsiteY238" fmla="*/ 432278 h 1517176"/>
              <a:gd name="connsiteX239" fmla="*/ 1747151 w 2268528"/>
              <a:gd name="connsiteY239" fmla="*/ 366391 h 1517176"/>
              <a:gd name="connsiteX240" fmla="*/ 1747563 w 2268528"/>
              <a:gd name="connsiteY240" fmla="*/ 329054 h 1517176"/>
              <a:gd name="connsiteX241" fmla="*/ 1697920 w 2268528"/>
              <a:gd name="connsiteY241" fmla="*/ 359172 h 1517176"/>
              <a:gd name="connsiteX242" fmla="*/ 1747151 w 2268528"/>
              <a:gd name="connsiteY242" fmla="*/ 366391 h 1517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</a:cxnLst>
            <a:rect l="l" t="t" r="r" b="b"/>
            <a:pathLst>
              <a:path w="2268528" h="1517176">
                <a:moveTo>
                  <a:pt x="200506" y="1509549"/>
                </a:moveTo>
                <a:cubicBezTo>
                  <a:pt x="152483" y="1498264"/>
                  <a:pt x="117738" y="1480005"/>
                  <a:pt x="79852" y="1446122"/>
                </a:cubicBezTo>
                <a:cubicBezTo>
                  <a:pt x="29168" y="1400789"/>
                  <a:pt x="513" y="1340901"/>
                  <a:pt x="290" y="1279860"/>
                </a:cubicBezTo>
                <a:cubicBezTo>
                  <a:pt x="224" y="1262081"/>
                  <a:pt x="80544" y="818056"/>
                  <a:pt x="86419" y="803715"/>
                </a:cubicBezTo>
                <a:cubicBezTo>
                  <a:pt x="87488" y="801112"/>
                  <a:pt x="93369" y="796037"/>
                  <a:pt x="99495" y="792440"/>
                </a:cubicBezTo>
                <a:cubicBezTo>
                  <a:pt x="115052" y="783300"/>
                  <a:pt x="135829" y="787937"/>
                  <a:pt x="144177" y="802407"/>
                </a:cubicBezTo>
                <a:cubicBezTo>
                  <a:pt x="150110" y="812699"/>
                  <a:pt x="147304" y="831290"/>
                  <a:pt x="108696" y="1037461"/>
                </a:cubicBezTo>
                <a:cubicBezTo>
                  <a:pt x="85640" y="1160595"/>
                  <a:pt x="66752" y="1268852"/>
                  <a:pt x="66727" y="1278029"/>
                </a:cubicBezTo>
                <a:cubicBezTo>
                  <a:pt x="66565" y="1336017"/>
                  <a:pt x="103803" y="1397549"/>
                  <a:pt x="157779" y="1428521"/>
                </a:cubicBezTo>
                <a:cubicBezTo>
                  <a:pt x="223219" y="1466056"/>
                  <a:pt x="307223" y="1467813"/>
                  <a:pt x="373432" y="1433025"/>
                </a:cubicBezTo>
                <a:cubicBezTo>
                  <a:pt x="397754" y="1420229"/>
                  <a:pt x="435060" y="1384930"/>
                  <a:pt x="447691" y="1362766"/>
                </a:cubicBezTo>
                <a:cubicBezTo>
                  <a:pt x="453045" y="1353320"/>
                  <a:pt x="488328" y="1263172"/>
                  <a:pt x="526055" y="1162435"/>
                </a:cubicBezTo>
                <a:cubicBezTo>
                  <a:pt x="563782" y="1061698"/>
                  <a:pt x="597747" y="976195"/>
                  <a:pt x="601536" y="972425"/>
                </a:cubicBezTo>
                <a:cubicBezTo>
                  <a:pt x="614990" y="959064"/>
                  <a:pt x="624573" y="960003"/>
                  <a:pt x="666446" y="978776"/>
                </a:cubicBezTo>
                <a:cubicBezTo>
                  <a:pt x="753569" y="1017840"/>
                  <a:pt x="837232" y="1009836"/>
                  <a:pt x="907826" y="955684"/>
                </a:cubicBezTo>
                <a:lnTo>
                  <a:pt x="931467" y="937562"/>
                </a:lnTo>
                <a:lnTo>
                  <a:pt x="1134571" y="937562"/>
                </a:lnTo>
                <a:lnTo>
                  <a:pt x="1337675" y="937562"/>
                </a:lnTo>
                <a:lnTo>
                  <a:pt x="1361289" y="955684"/>
                </a:lnTo>
                <a:cubicBezTo>
                  <a:pt x="1431910" y="1009861"/>
                  <a:pt x="1516232" y="1017953"/>
                  <a:pt x="1602559" y="978845"/>
                </a:cubicBezTo>
                <a:cubicBezTo>
                  <a:pt x="1644378" y="959904"/>
                  <a:pt x="1654207" y="958935"/>
                  <a:pt x="1667387" y="972425"/>
                </a:cubicBezTo>
                <a:cubicBezTo>
                  <a:pt x="1671066" y="976195"/>
                  <a:pt x="1688529" y="1017231"/>
                  <a:pt x="1706212" y="1063615"/>
                </a:cubicBezTo>
                <a:cubicBezTo>
                  <a:pt x="1736003" y="1141869"/>
                  <a:pt x="1737926" y="1148843"/>
                  <a:pt x="1732626" y="1160288"/>
                </a:cubicBezTo>
                <a:cubicBezTo>
                  <a:pt x="1727244" y="1171952"/>
                  <a:pt x="1713625" y="1179901"/>
                  <a:pt x="1699018" y="1179901"/>
                </a:cubicBezTo>
                <a:cubicBezTo>
                  <a:pt x="1683779" y="1179901"/>
                  <a:pt x="1671505" y="1160197"/>
                  <a:pt x="1648935" y="1099494"/>
                </a:cubicBezTo>
                <a:lnTo>
                  <a:pt x="1625871" y="1037418"/>
                </a:lnTo>
                <a:lnTo>
                  <a:pt x="1597672" y="1046932"/>
                </a:lnTo>
                <a:cubicBezTo>
                  <a:pt x="1546299" y="1064274"/>
                  <a:pt x="1478533" y="1066575"/>
                  <a:pt x="1422684" y="1052876"/>
                </a:cubicBezTo>
                <a:cubicBezTo>
                  <a:pt x="1396188" y="1046380"/>
                  <a:pt x="1357884" y="1028738"/>
                  <a:pt x="1332459" y="1011344"/>
                </a:cubicBezTo>
                <a:lnTo>
                  <a:pt x="1311728" y="997154"/>
                </a:lnTo>
                <a:lnTo>
                  <a:pt x="1134571" y="997154"/>
                </a:lnTo>
                <a:lnTo>
                  <a:pt x="957387" y="997154"/>
                </a:lnTo>
                <a:lnTo>
                  <a:pt x="936656" y="1011344"/>
                </a:lnTo>
                <a:cubicBezTo>
                  <a:pt x="911231" y="1028738"/>
                  <a:pt x="872927" y="1046380"/>
                  <a:pt x="846431" y="1052876"/>
                </a:cubicBezTo>
                <a:cubicBezTo>
                  <a:pt x="790362" y="1066627"/>
                  <a:pt x="719878" y="1064145"/>
                  <a:pt x="671773" y="1046720"/>
                </a:cubicBezTo>
                <a:cubicBezTo>
                  <a:pt x="657248" y="1041462"/>
                  <a:pt x="644809" y="1037665"/>
                  <a:pt x="644095" y="1038282"/>
                </a:cubicBezTo>
                <a:cubicBezTo>
                  <a:pt x="643409" y="1038900"/>
                  <a:pt x="613755" y="1116158"/>
                  <a:pt x="578169" y="1209964"/>
                </a:cubicBezTo>
                <a:cubicBezTo>
                  <a:pt x="535885" y="1321538"/>
                  <a:pt x="508207" y="1388354"/>
                  <a:pt x="498158" y="1403178"/>
                </a:cubicBezTo>
                <a:cubicBezTo>
                  <a:pt x="463671" y="1454084"/>
                  <a:pt x="396532" y="1497852"/>
                  <a:pt x="332036" y="1511499"/>
                </a:cubicBezTo>
                <a:cubicBezTo>
                  <a:pt x="293681" y="1519598"/>
                  <a:pt x="239886" y="1518802"/>
                  <a:pt x="200506" y="1509549"/>
                </a:cubicBezTo>
                <a:close/>
                <a:moveTo>
                  <a:pt x="1935044" y="1511306"/>
                </a:moveTo>
                <a:cubicBezTo>
                  <a:pt x="1872303" y="1497687"/>
                  <a:pt x="1804867" y="1453206"/>
                  <a:pt x="1770875" y="1403068"/>
                </a:cubicBezTo>
                <a:cubicBezTo>
                  <a:pt x="1749403" y="1371346"/>
                  <a:pt x="1709672" y="1266013"/>
                  <a:pt x="1714724" y="1254113"/>
                </a:cubicBezTo>
                <a:cubicBezTo>
                  <a:pt x="1723291" y="1233926"/>
                  <a:pt x="1752396" y="1227197"/>
                  <a:pt x="1767937" y="1241810"/>
                </a:cubicBezTo>
                <a:cubicBezTo>
                  <a:pt x="1772385" y="1245997"/>
                  <a:pt x="1783505" y="1269984"/>
                  <a:pt x="1792676" y="1295110"/>
                </a:cubicBezTo>
                <a:cubicBezTo>
                  <a:pt x="1814340" y="1354562"/>
                  <a:pt x="1826202" y="1375204"/>
                  <a:pt x="1853879" y="1401448"/>
                </a:cubicBezTo>
                <a:cubicBezTo>
                  <a:pt x="1893830" y="1439312"/>
                  <a:pt x="1942540" y="1457983"/>
                  <a:pt x="2001354" y="1457983"/>
                </a:cubicBezTo>
                <a:cubicBezTo>
                  <a:pt x="2110444" y="1457983"/>
                  <a:pt x="2202426" y="1375830"/>
                  <a:pt x="2202426" y="1278424"/>
                </a:cubicBezTo>
                <a:cubicBezTo>
                  <a:pt x="2202426" y="1253281"/>
                  <a:pt x="2043859" y="412901"/>
                  <a:pt x="2034523" y="388577"/>
                </a:cubicBezTo>
                <a:cubicBezTo>
                  <a:pt x="1999789" y="298022"/>
                  <a:pt x="1915632" y="222626"/>
                  <a:pt x="1816152" y="192908"/>
                </a:cubicBezTo>
                <a:cubicBezTo>
                  <a:pt x="1726091" y="165997"/>
                  <a:pt x="1638007" y="171225"/>
                  <a:pt x="1553300" y="208510"/>
                </a:cubicBezTo>
                <a:cubicBezTo>
                  <a:pt x="1531361" y="218164"/>
                  <a:pt x="1502174" y="234169"/>
                  <a:pt x="1488473" y="244075"/>
                </a:cubicBezTo>
                <a:lnTo>
                  <a:pt x="1463514" y="262088"/>
                </a:lnTo>
                <a:lnTo>
                  <a:pt x="1461592" y="298892"/>
                </a:lnTo>
                <a:cubicBezTo>
                  <a:pt x="1458791" y="352231"/>
                  <a:pt x="1438912" y="383310"/>
                  <a:pt x="1395007" y="402923"/>
                </a:cubicBezTo>
                <a:cubicBezTo>
                  <a:pt x="1372547" y="412957"/>
                  <a:pt x="1370213" y="413163"/>
                  <a:pt x="1278394" y="413163"/>
                </a:cubicBezTo>
                <a:cubicBezTo>
                  <a:pt x="1173204" y="413163"/>
                  <a:pt x="1170019" y="412322"/>
                  <a:pt x="1170019" y="384664"/>
                </a:cubicBezTo>
                <a:cubicBezTo>
                  <a:pt x="1170019" y="359777"/>
                  <a:pt x="1175236" y="358321"/>
                  <a:pt x="1269718" y="356861"/>
                </a:cubicBezTo>
                <a:cubicBezTo>
                  <a:pt x="1338774" y="355792"/>
                  <a:pt x="1356374" y="354343"/>
                  <a:pt x="1367687" y="348780"/>
                </a:cubicBezTo>
                <a:cubicBezTo>
                  <a:pt x="1384573" y="340501"/>
                  <a:pt x="1395996" y="320128"/>
                  <a:pt x="1395996" y="298346"/>
                </a:cubicBezTo>
                <a:lnTo>
                  <a:pt x="1395996" y="282063"/>
                </a:lnTo>
                <a:lnTo>
                  <a:pt x="1134571" y="282063"/>
                </a:lnTo>
                <a:lnTo>
                  <a:pt x="873120" y="282063"/>
                </a:lnTo>
                <a:lnTo>
                  <a:pt x="873120" y="298346"/>
                </a:lnTo>
                <a:cubicBezTo>
                  <a:pt x="873120" y="320128"/>
                  <a:pt x="884542" y="340501"/>
                  <a:pt x="901428" y="348780"/>
                </a:cubicBezTo>
                <a:cubicBezTo>
                  <a:pt x="912741" y="354343"/>
                  <a:pt x="930341" y="355792"/>
                  <a:pt x="999425" y="356861"/>
                </a:cubicBezTo>
                <a:cubicBezTo>
                  <a:pt x="1094401" y="358330"/>
                  <a:pt x="1099123" y="359675"/>
                  <a:pt x="1099123" y="385353"/>
                </a:cubicBezTo>
                <a:cubicBezTo>
                  <a:pt x="1099123" y="412146"/>
                  <a:pt x="1095115" y="413163"/>
                  <a:pt x="989952" y="413163"/>
                </a:cubicBezTo>
                <a:cubicBezTo>
                  <a:pt x="898957" y="413163"/>
                  <a:pt x="896541" y="412948"/>
                  <a:pt x="874108" y="402923"/>
                </a:cubicBezTo>
                <a:cubicBezTo>
                  <a:pt x="830203" y="383310"/>
                  <a:pt x="810324" y="352231"/>
                  <a:pt x="807523" y="298892"/>
                </a:cubicBezTo>
                <a:lnTo>
                  <a:pt x="805601" y="262088"/>
                </a:lnTo>
                <a:lnTo>
                  <a:pt x="780642" y="244075"/>
                </a:lnTo>
                <a:cubicBezTo>
                  <a:pt x="766941" y="234169"/>
                  <a:pt x="737753" y="218164"/>
                  <a:pt x="715815" y="208510"/>
                </a:cubicBezTo>
                <a:cubicBezTo>
                  <a:pt x="631108" y="171225"/>
                  <a:pt x="543024" y="165997"/>
                  <a:pt x="452963" y="192908"/>
                </a:cubicBezTo>
                <a:cubicBezTo>
                  <a:pt x="355062" y="222151"/>
                  <a:pt x="267700" y="300207"/>
                  <a:pt x="235015" y="387635"/>
                </a:cubicBezTo>
                <a:cubicBezTo>
                  <a:pt x="230053" y="400905"/>
                  <a:pt x="213375" y="479129"/>
                  <a:pt x="197958" y="561464"/>
                </a:cubicBezTo>
                <a:cubicBezTo>
                  <a:pt x="176706" y="674933"/>
                  <a:pt x="167985" y="713080"/>
                  <a:pt x="161922" y="719084"/>
                </a:cubicBezTo>
                <a:cubicBezTo>
                  <a:pt x="144366" y="736479"/>
                  <a:pt x="106557" y="723939"/>
                  <a:pt x="106557" y="700721"/>
                </a:cubicBezTo>
                <a:cubicBezTo>
                  <a:pt x="106557" y="680454"/>
                  <a:pt x="160179" y="404752"/>
                  <a:pt x="169251" y="378376"/>
                </a:cubicBezTo>
                <a:cubicBezTo>
                  <a:pt x="202112" y="282824"/>
                  <a:pt x="281075" y="200341"/>
                  <a:pt x="384604" y="153424"/>
                </a:cubicBezTo>
                <a:lnTo>
                  <a:pt x="407869" y="142883"/>
                </a:lnTo>
                <a:lnTo>
                  <a:pt x="407894" y="110176"/>
                </a:lnTo>
                <a:cubicBezTo>
                  <a:pt x="407927" y="68097"/>
                  <a:pt x="413509" y="50900"/>
                  <a:pt x="433632" y="30878"/>
                </a:cubicBezTo>
                <a:cubicBezTo>
                  <a:pt x="461886" y="2780"/>
                  <a:pt x="473364" y="186"/>
                  <a:pt x="569905" y="87"/>
                </a:cubicBezTo>
                <a:cubicBezTo>
                  <a:pt x="653404" y="2"/>
                  <a:pt x="654694" y="131"/>
                  <a:pt x="678445" y="10924"/>
                </a:cubicBezTo>
                <a:cubicBezTo>
                  <a:pt x="694178" y="18072"/>
                  <a:pt x="707083" y="27800"/>
                  <a:pt x="715787" y="39058"/>
                </a:cubicBezTo>
                <a:cubicBezTo>
                  <a:pt x="728390" y="55321"/>
                  <a:pt x="729186" y="58747"/>
                  <a:pt x="730587" y="101288"/>
                </a:cubicBezTo>
                <a:lnTo>
                  <a:pt x="732070" y="146304"/>
                </a:lnTo>
                <a:lnTo>
                  <a:pt x="766639" y="164303"/>
                </a:lnTo>
                <a:cubicBezTo>
                  <a:pt x="785639" y="174201"/>
                  <a:pt x="813289" y="191340"/>
                  <a:pt x="828089" y="202387"/>
                </a:cubicBezTo>
                <a:lnTo>
                  <a:pt x="855025" y="222472"/>
                </a:lnTo>
                <a:lnTo>
                  <a:pt x="1134571" y="222472"/>
                </a:lnTo>
                <a:lnTo>
                  <a:pt x="1414090" y="222472"/>
                </a:lnTo>
                <a:lnTo>
                  <a:pt x="1440779" y="202568"/>
                </a:lnTo>
                <a:cubicBezTo>
                  <a:pt x="1455441" y="191620"/>
                  <a:pt x="1483119" y="174569"/>
                  <a:pt x="1502229" y="164673"/>
                </a:cubicBezTo>
                <a:lnTo>
                  <a:pt x="1537018" y="146683"/>
                </a:lnTo>
                <a:lnTo>
                  <a:pt x="1538501" y="101477"/>
                </a:lnTo>
                <a:cubicBezTo>
                  <a:pt x="1539929" y="58728"/>
                  <a:pt x="1540725" y="55332"/>
                  <a:pt x="1553328" y="39058"/>
                </a:cubicBezTo>
                <a:cubicBezTo>
                  <a:pt x="1562032" y="27800"/>
                  <a:pt x="1574937" y="18072"/>
                  <a:pt x="1590670" y="10924"/>
                </a:cubicBezTo>
                <a:cubicBezTo>
                  <a:pt x="1614421" y="128"/>
                  <a:pt x="1615712" y="-1"/>
                  <a:pt x="1699210" y="87"/>
                </a:cubicBezTo>
                <a:cubicBezTo>
                  <a:pt x="1795752" y="186"/>
                  <a:pt x="1807229" y="2780"/>
                  <a:pt x="1835482" y="30878"/>
                </a:cubicBezTo>
                <a:cubicBezTo>
                  <a:pt x="1855609" y="50900"/>
                  <a:pt x="1861183" y="68097"/>
                  <a:pt x="1861210" y="110176"/>
                </a:cubicBezTo>
                <a:lnTo>
                  <a:pt x="1861238" y="142883"/>
                </a:lnTo>
                <a:lnTo>
                  <a:pt x="1884522" y="153424"/>
                </a:lnTo>
                <a:cubicBezTo>
                  <a:pt x="1945011" y="180846"/>
                  <a:pt x="2003139" y="225036"/>
                  <a:pt x="2041003" y="272415"/>
                </a:cubicBezTo>
                <a:cubicBezTo>
                  <a:pt x="2067472" y="305512"/>
                  <a:pt x="2094298" y="357215"/>
                  <a:pt x="2104787" y="395285"/>
                </a:cubicBezTo>
                <a:cubicBezTo>
                  <a:pt x="2118406" y="444708"/>
                  <a:pt x="2268902" y="1256579"/>
                  <a:pt x="2268819" y="1280132"/>
                </a:cubicBezTo>
                <a:cubicBezTo>
                  <a:pt x="2268709" y="1312521"/>
                  <a:pt x="2257479" y="1352692"/>
                  <a:pt x="2239247" y="1385970"/>
                </a:cubicBezTo>
                <a:cubicBezTo>
                  <a:pt x="2218571" y="1423661"/>
                  <a:pt x="2168983" y="1469763"/>
                  <a:pt x="2128510" y="1488928"/>
                </a:cubicBezTo>
                <a:cubicBezTo>
                  <a:pt x="2072442" y="1515452"/>
                  <a:pt x="1995286" y="1524376"/>
                  <a:pt x="1935044" y="1511306"/>
                </a:cubicBezTo>
                <a:close/>
                <a:moveTo>
                  <a:pt x="664881" y="101301"/>
                </a:moveTo>
                <a:cubicBezTo>
                  <a:pt x="664881" y="60183"/>
                  <a:pt x="663535" y="59588"/>
                  <a:pt x="571003" y="59588"/>
                </a:cubicBezTo>
                <a:cubicBezTo>
                  <a:pt x="498899" y="59588"/>
                  <a:pt x="494286" y="60049"/>
                  <a:pt x="484594" y="68226"/>
                </a:cubicBezTo>
                <a:cubicBezTo>
                  <a:pt x="476109" y="75365"/>
                  <a:pt x="474325" y="80939"/>
                  <a:pt x="474325" y="100324"/>
                </a:cubicBezTo>
                <a:lnTo>
                  <a:pt x="474325" y="123786"/>
                </a:lnTo>
                <a:lnTo>
                  <a:pt x="504253" y="120489"/>
                </a:lnTo>
                <a:cubicBezTo>
                  <a:pt x="541541" y="116378"/>
                  <a:pt x="612546" y="117474"/>
                  <a:pt x="636078" y="122523"/>
                </a:cubicBezTo>
                <a:cubicBezTo>
                  <a:pt x="665622" y="128866"/>
                  <a:pt x="664881" y="129415"/>
                  <a:pt x="664881" y="101304"/>
                </a:cubicBezTo>
                <a:close/>
                <a:moveTo>
                  <a:pt x="1665520" y="118715"/>
                </a:moveTo>
                <a:cubicBezTo>
                  <a:pt x="1696080" y="115414"/>
                  <a:pt x="1716975" y="115412"/>
                  <a:pt x="1745586" y="118701"/>
                </a:cubicBezTo>
                <a:cubicBezTo>
                  <a:pt x="1766893" y="121150"/>
                  <a:pt x="1786663" y="123152"/>
                  <a:pt x="1789546" y="123152"/>
                </a:cubicBezTo>
                <a:cubicBezTo>
                  <a:pt x="1799101" y="123152"/>
                  <a:pt x="1796053" y="81957"/>
                  <a:pt x="1785592" y="70057"/>
                </a:cubicBezTo>
                <a:lnTo>
                  <a:pt x="1776421" y="59588"/>
                </a:lnTo>
                <a:lnTo>
                  <a:pt x="1699183" y="59588"/>
                </a:lnTo>
                <a:cubicBezTo>
                  <a:pt x="1605278" y="59588"/>
                  <a:pt x="1604262" y="60043"/>
                  <a:pt x="1604262" y="101765"/>
                </a:cubicBezTo>
                <a:cubicBezTo>
                  <a:pt x="1604262" y="127098"/>
                  <a:pt x="1604618" y="127963"/>
                  <a:pt x="1614229" y="125615"/>
                </a:cubicBezTo>
                <a:cubicBezTo>
                  <a:pt x="1619693" y="124275"/>
                  <a:pt x="1642785" y="121170"/>
                  <a:pt x="1665520" y="118715"/>
                </a:cubicBezTo>
                <a:close/>
                <a:moveTo>
                  <a:pt x="737561" y="935154"/>
                </a:moveTo>
                <a:cubicBezTo>
                  <a:pt x="701839" y="925327"/>
                  <a:pt x="673997" y="903896"/>
                  <a:pt x="656122" y="872482"/>
                </a:cubicBezTo>
                <a:cubicBezTo>
                  <a:pt x="642750" y="848954"/>
                  <a:pt x="640773" y="841746"/>
                  <a:pt x="640883" y="817012"/>
                </a:cubicBezTo>
                <a:cubicBezTo>
                  <a:pt x="641185" y="750891"/>
                  <a:pt x="694727" y="700411"/>
                  <a:pt x="769000" y="696201"/>
                </a:cubicBezTo>
                <a:cubicBezTo>
                  <a:pt x="846156" y="691827"/>
                  <a:pt x="907112" y="739749"/>
                  <a:pt x="912054" y="808662"/>
                </a:cubicBezTo>
                <a:cubicBezTo>
                  <a:pt x="914828" y="847249"/>
                  <a:pt x="905437" y="871724"/>
                  <a:pt x="877266" y="899344"/>
                </a:cubicBezTo>
                <a:cubicBezTo>
                  <a:pt x="841214" y="934709"/>
                  <a:pt x="786710" y="948683"/>
                  <a:pt x="737561" y="935154"/>
                </a:cubicBezTo>
                <a:close/>
                <a:moveTo>
                  <a:pt x="814937" y="871093"/>
                </a:moveTo>
                <a:cubicBezTo>
                  <a:pt x="834899" y="857831"/>
                  <a:pt x="846540" y="838786"/>
                  <a:pt x="846540" y="819387"/>
                </a:cubicBezTo>
                <a:cubicBezTo>
                  <a:pt x="846540" y="782597"/>
                  <a:pt x="822378" y="758626"/>
                  <a:pt x="782317" y="755647"/>
                </a:cubicBezTo>
                <a:cubicBezTo>
                  <a:pt x="743053" y="752728"/>
                  <a:pt x="711806" y="775494"/>
                  <a:pt x="706616" y="810796"/>
                </a:cubicBezTo>
                <a:cubicBezTo>
                  <a:pt x="699203" y="861249"/>
                  <a:pt x="770208" y="900780"/>
                  <a:pt x="814937" y="871093"/>
                </a:cubicBezTo>
                <a:close/>
                <a:moveTo>
                  <a:pt x="1461290" y="937214"/>
                </a:moveTo>
                <a:cubicBezTo>
                  <a:pt x="1433612" y="931370"/>
                  <a:pt x="1411591" y="919182"/>
                  <a:pt x="1390257" y="897916"/>
                </a:cubicBezTo>
                <a:cubicBezTo>
                  <a:pt x="1363678" y="871414"/>
                  <a:pt x="1354370" y="846348"/>
                  <a:pt x="1357061" y="808662"/>
                </a:cubicBezTo>
                <a:cubicBezTo>
                  <a:pt x="1366204" y="680979"/>
                  <a:pt x="1559835" y="652549"/>
                  <a:pt x="1618897" y="770222"/>
                </a:cubicBezTo>
                <a:cubicBezTo>
                  <a:pt x="1625404" y="783179"/>
                  <a:pt x="1628150" y="796957"/>
                  <a:pt x="1628232" y="817012"/>
                </a:cubicBezTo>
                <a:cubicBezTo>
                  <a:pt x="1628342" y="841746"/>
                  <a:pt x="1626365" y="848954"/>
                  <a:pt x="1612993" y="872482"/>
                </a:cubicBezTo>
                <a:cubicBezTo>
                  <a:pt x="1583641" y="924053"/>
                  <a:pt x="1522493" y="950146"/>
                  <a:pt x="1461290" y="937214"/>
                </a:cubicBezTo>
                <a:close/>
                <a:moveTo>
                  <a:pt x="1524662" y="872798"/>
                </a:moveTo>
                <a:cubicBezTo>
                  <a:pt x="1563542" y="854360"/>
                  <a:pt x="1574800" y="810779"/>
                  <a:pt x="1548633" y="780005"/>
                </a:cubicBezTo>
                <a:cubicBezTo>
                  <a:pt x="1534080" y="762915"/>
                  <a:pt x="1516287" y="754818"/>
                  <a:pt x="1493250" y="754818"/>
                </a:cubicBezTo>
                <a:cubicBezTo>
                  <a:pt x="1455524" y="754818"/>
                  <a:pt x="1427709" y="776293"/>
                  <a:pt x="1423645" y="808577"/>
                </a:cubicBezTo>
                <a:cubicBezTo>
                  <a:pt x="1420817" y="831175"/>
                  <a:pt x="1424387" y="842792"/>
                  <a:pt x="1438967" y="858328"/>
                </a:cubicBezTo>
                <a:cubicBezTo>
                  <a:pt x="1461894" y="882757"/>
                  <a:pt x="1492701" y="887957"/>
                  <a:pt x="1524662" y="872798"/>
                </a:cubicBezTo>
                <a:close/>
                <a:moveTo>
                  <a:pt x="1686086" y="721446"/>
                </a:moveTo>
                <a:cubicBezTo>
                  <a:pt x="1667881" y="714345"/>
                  <a:pt x="1644295" y="692580"/>
                  <a:pt x="1636277" y="675482"/>
                </a:cubicBezTo>
                <a:cubicBezTo>
                  <a:pt x="1627820" y="657514"/>
                  <a:pt x="1627820" y="625674"/>
                  <a:pt x="1636277" y="607705"/>
                </a:cubicBezTo>
                <a:cubicBezTo>
                  <a:pt x="1644542" y="590132"/>
                  <a:pt x="1668183" y="568639"/>
                  <a:pt x="1687047" y="561571"/>
                </a:cubicBezTo>
                <a:cubicBezTo>
                  <a:pt x="1694982" y="558608"/>
                  <a:pt x="1711539" y="556181"/>
                  <a:pt x="1723895" y="556181"/>
                </a:cubicBezTo>
                <a:cubicBezTo>
                  <a:pt x="1826943" y="556181"/>
                  <a:pt x="1859069" y="677088"/>
                  <a:pt x="1767278" y="719428"/>
                </a:cubicBezTo>
                <a:cubicBezTo>
                  <a:pt x="1747893" y="728365"/>
                  <a:pt x="1706432" y="729398"/>
                  <a:pt x="1686086" y="721446"/>
                </a:cubicBezTo>
                <a:close/>
                <a:moveTo>
                  <a:pt x="1746794" y="660841"/>
                </a:moveTo>
                <a:cubicBezTo>
                  <a:pt x="1756899" y="652651"/>
                  <a:pt x="1757311" y="632681"/>
                  <a:pt x="1747563" y="623038"/>
                </a:cubicBezTo>
                <a:cubicBezTo>
                  <a:pt x="1736360" y="611920"/>
                  <a:pt x="1713186" y="613551"/>
                  <a:pt x="1702066" y="626239"/>
                </a:cubicBezTo>
                <a:cubicBezTo>
                  <a:pt x="1697014" y="631997"/>
                  <a:pt x="1692867" y="638905"/>
                  <a:pt x="1692867" y="641594"/>
                </a:cubicBezTo>
                <a:cubicBezTo>
                  <a:pt x="1692867" y="644282"/>
                  <a:pt x="1697014" y="651193"/>
                  <a:pt x="1702066" y="656951"/>
                </a:cubicBezTo>
                <a:cubicBezTo>
                  <a:pt x="1712829" y="669238"/>
                  <a:pt x="1734164" y="671094"/>
                  <a:pt x="1746794" y="660841"/>
                </a:cubicBezTo>
                <a:close/>
                <a:moveTo>
                  <a:pt x="525286" y="679817"/>
                </a:moveTo>
                <a:cubicBezTo>
                  <a:pt x="492886" y="666492"/>
                  <a:pt x="469629" y="638466"/>
                  <a:pt x="463479" y="605322"/>
                </a:cubicBezTo>
                <a:cubicBezTo>
                  <a:pt x="460513" y="589262"/>
                  <a:pt x="459992" y="588861"/>
                  <a:pt x="439398" y="586412"/>
                </a:cubicBezTo>
                <a:cubicBezTo>
                  <a:pt x="400447" y="581780"/>
                  <a:pt x="365708" y="553117"/>
                  <a:pt x="354725" y="516541"/>
                </a:cubicBezTo>
                <a:cubicBezTo>
                  <a:pt x="339384" y="465461"/>
                  <a:pt x="380941" y="411713"/>
                  <a:pt x="442611" y="402871"/>
                </a:cubicBezTo>
                <a:cubicBezTo>
                  <a:pt x="459415" y="400460"/>
                  <a:pt x="460623" y="399373"/>
                  <a:pt x="463479" y="383895"/>
                </a:cubicBezTo>
                <a:cubicBezTo>
                  <a:pt x="472924" y="333082"/>
                  <a:pt x="524847" y="296706"/>
                  <a:pt x="578554" y="303304"/>
                </a:cubicBezTo>
                <a:cubicBezTo>
                  <a:pt x="601975" y="306185"/>
                  <a:pt x="627758" y="317289"/>
                  <a:pt x="641322" y="330342"/>
                </a:cubicBezTo>
                <a:cubicBezTo>
                  <a:pt x="654694" y="343189"/>
                  <a:pt x="669082" y="372882"/>
                  <a:pt x="669192" y="387822"/>
                </a:cubicBezTo>
                <a:cubicBezTo>
                  <a:pt x="669274" y="399623"/>
                  <a:pt x="670317" y="400342"/>
                  <a:pt x="690663" y="402761"/>
                </a:cubicBezTo>
                <a:cubicBezTo>
                  <a:pt x="718066" y="406018"/>
                  <a:pt x="749642" y="424003"/>
                  <a:pt x="765348" y="445285"/>
                </a:cubicBezTo>
                <a:cubicBezTo>
                  <a:pt x="780423" y="465694"/>
                  <a:pt x="784898" y="506370"/>
                  <a:pt x="774546" y="528531"/>
                </a:cubicBezTo>
                <a:cubicBezTo>
                  <a:pt x="759747" y="560228"/>
                  <a:pt x="717517" y="587831"/>
                  <a:pt x="683689" y="587925"/>
                </a:cubicBezTo>
                <a:cubicBezTo>
                  <a:pt x="671114" y="587961"/>
                  <a:pt x="669301" y="589279"/>
                  <a:pt x="669301" y="598427"/>
                </a:cubicBezTo>
                <a:cubicBezTo>
                  <a:pt x="669301" y="632288"/>
                  <a:pt x="635831" y="672912"/>
                  <a:pt x="600108" y="682426"/>
                </a:cubicBezTo>
                <a:cubicBezTo>
                  <a:pt x="574298" y="689296"/>
                  <a:pt x="545934" y="688307"/>
                  <a:pt x="525286" y="679817"/>
                </a:cubicBezTo>
                <a:close/>
                <a:moveTo>
                  <a:pt x="590114" y="620135"/>
                </a:moveTo>
                <a:cubicBezTo>
                  <a:pt x="599147" y="613578"/>
                  <a:pt x="600850" y="607980"/>
                  <a:pt x="603074" y="577851"/>
                </a:cubicBezTo>
                <a:cubicBezTo>
                  <a:pt x="606423" y="532946"/>
                  <a:pt x="611585" y="528372"/>
                  <a:pt x="658922" y="528372"/>
                </a:cubicBezTo>
                <a:cubicBezTo>
                  <a:pt x="687973" y="528372"/>
                  <a:pt x="693135" y="527224"/>
                  <a:pt x="702745" y="518619"/>
                </a:cubicBezTo>
                <a:cubicBezTo>
                  <a:pt x="716034" y="506702"/>
                  <a:pt x="717242" y="485599"/>
                  <a:pt x="705381" y="472471"/>
                </a:cubicBezTo>
                <a:cubicBezTo>
                  <a:pt x="698324" y="464662"/>
                  <a:pt x="691734" y="463042"/>
                  <a:pt x="659005" y="461093"/>
                </a:cubicBezTo>
                <a:cubicBezTo>
                  <a:pt x="609197" y="458130"/>
                  <a:pt x="606368" y="455573"/>
                  <a:pt x="603046" y="410884"/>
                </a:cubicBezTo>
                <a:cubicBezTo>
                  <a:pt x="600850" y="381232"/>
                  <a:pt x="599120" y="375611"/>
                  <a:pt x="590114" y="369074"/>
                </a:cubicBezTo>
                <a:cubicBezTo>
                  <a:pt x="575973" y="358807"/>
                  <a:pt x="557109" y="359576"/>
                  <a:pt x="542255" y="371020"/>
                </a:cubicBezTo>
                <a:cubicBezTo>
                  <a:pt x="531080" y="379637"/>
                  <a:pt x="529789" y="383431"/>
                  <a:pt x="528279" y="411740"/>
                </a:cubicBezTo>
                <a:cubicBezTo>
                  <a:pt x="525972" y="455052"/>
                  <a:pt x="519740" y="460834"/>
                  <a:pt x="475423" y="460834"/>
                </a:cubicBezTo>
                <a:cubicBezTo>
                  <a:pt x="445082" y="460834"/>
                  <a:pt x="441677" y="461705"/>
                  <a:pt x="429679" y="472449"/>
                </a:cubicBezTo>
                <a:cubicBezTo>
                  <a:pt x="412877" y="487515"/>
                  <a:pt x="412877" y="501691"/>
                  <a:pt x="429679" y="516760"/>
                </a:cubicBezTo>
                <a:cubicBezTo>
                  <a:pt x="441513" y="527364"/>
                  <a:pt x="445302" y="528372"/>
                  <a:pt x="473391" y="528372"/>
                </a:cubicBezTo>
                <a:cubicBezTo>
                  <a:pt x="518806" y="528372"/>
                  <a:pt x="526082" y="534665"/>
                  <a:pt x="528169" y="575698"/>
                </a:cubicBezTo>
                <a:cubicBezTo>
                  <a:pt x="529515" y="602445"/>
                  <a:pt x="531382" y="608771"/>
                  <a:pt x="540470" y="617456"/>
                </a:cubicBezTo>
                <a:cubicBezTo>
                  <a:pt x="553513" y="629899"/>
                  <a:pt x="575067" y="631061"/>
                  <a:pt x="590114" y="620135"/>
                </a:cubicBezTo>
                <a:close/>
                <a:moveTo>
                  <a:pt x="923257" y="607953"/>
                </a:moveTo>
                <a:cubicBezTo>
                  <a:pt x="903378" y="600451"/>
                  <a:pt x="898024" y="575487"/>
                  <a:pt x="913180" y="560904"/>
                </a:cubicBezTo>
                <a:cubicBezTo>
                  <a:pt x="921665" y="552732"/>
                  <a:pt x="926085" y="552208"/>
                  <a:pt x="986300" y="552208"/>
                </a:cubicBezTo>
                <a:cubicBezTo>
                  <a:pt x="1044455" y="552208"/>
                  <a:pt x="1051182" y="552941"/>
                  <a:pt x="1059227" y="560154"/>
                </a:cubicBezTo>
                <a:cubicBezTo>
                  <a:pt x="1070430" y="570190"/>
                  <a:pt x="1070595" y="588271"/>
                  <a:pt x="1059639" y="600435"/>
                </a:cubicBezTo>
                <a:cubicBezTo>
                  <a:pt x="1051594" y="609350"/>
                  <a:pt x="1048244" y="609858"/>
                  <a:pt x="992066" y="610709"/>
                </a:cubicBezTo>
                <a:cubicBezTo>
                  <a:pt x="959556" y="611201"/>
                  <a:pt x="928584" y="609960"/>
                  <a:pt x="923257" y="607953"/>
                </a:cubicBezTo>
                <a:close/>
                <a:moveTo>
                  <a:pt x="1220157" y="607953"/>
                </a:moveTo>
                <a:cubicBezTo>
                  <a:pt x="1200332" y="600484"/>
                  <a:pt x="1194621" y="573836"/>
                  <a:pt x="1209888" y="560154"/>
                </a:cubicBezTo>
                <a:cubicBezTo>
                  <a:pt x="1217933" y="552941"/>
                  <a:pt x="1224660" y="552208"/>
                  <a:pt x="1282815" y="552208"/>
                </a:cubicBezTo>
                <a:cubicBezTo>
                  <a:pt x="1343030" y="552208"/>
                  <a:pt x="1347450" y="552732"/>
                  <a:pt x="1355935" y="560904"/>
                </a:cubicBezTo>
                <a:cubicBezTo>
                  <a:pt x="1367275" y="571816"/>
                  <a:pt x="1367522" y="588238"/>
                  <a:pt x="1356511" y="600435"/>
                </a:cubicBezTo>
                <a:cubicBezTo>
                  <a:pt x="1348466" y="609350"/>
                  <a:pt x="1345117" y="609858"/>
                  <a:pt x="1288938" y="610709"/>
                </a:cubicBezTo>
                <a:cubicBezTo>
                  <a:pt x="1256428" y="611201"/>
                  <a:pt x="1225483" y="609960"/>
                  <a:pt x="1220157" y="607953"/>
                </a:cubicBezTo>
                <a:close/>
                <a:moveTo>
                  <a:pt x="1522136" y="574454"/>
                </a:moveTo>
                <a:cubicBezTo>
                  <a:pt x="1504343" y="567513"/>
                  <a:pt x="1480400" y="545684"/>
                  <a:pt x="1472904" y="529613"/>
                </a:cubicBezTo>
                <a:cubicBezTo>
                  <a:pt x="1465985" y="514783"/>
                  <a:pt x="1464942" y="477861"/>
                  <a:pt x="1471010" y="463523"/>
                </a:cubicBezTo>
                <a:cubicBezTo>
                  <a:pt x="1477737" y="447655"/>
                  <a:pt x="1503163" y="424365"/>
                  <a:pt x="1522246" y="416597"/>
                </a:cubicBezTo>
                <a:cubicBezTo>
                  <a:pt x="1531993" y="412619"/>
                  <a:pt x="1549539" y="409324"/>
                  <a:pt x="1561180" y="409277"/>
                </a:cubicBezTo>
                <a:cubicBezTo>
                  <a:pt x="1662966" y="408857"/>
                  <a:pt x="1694378" y="530442"/>
                  <a:pt x="1603328" y="572436"/>
                </a:cubicBezTo>
                <a:cubicBezTo>
                  <a:pt x="1583943" y="581373"/>
                  <a:pt x="1542482" y="582406"/>
                  <a:pt x="1522136" y="574454"/>
                </a:cubicBezTo>
                <a:close/>
                <a:moveTo>
                  <a:pt x="1583202" y="513248"/>
                </a:moveTo>
                <a:cubicBezTo>
                  <a:pt x="1593004" y="505703"/>
                  <a:pt x="1593224" y="485560"/>
                  <a:pt x="1583613" y="476046"/>
                </a:cubicBezTo>
                <a:cubicBezTo>
                  <a:pt x="1579440" y="471900"/>
                  <a:pt x="1570214" y="468781"/>
                  <a:pt x="1562142" y="468781"/>
                </a:cubicBezTo>
                <a:cubicBezTo>
                  <a:pt x="1528012" y="468781"/>
                  <a:pt x="1520873" y="509594"/>
                  <a:pt x="1553135" y="520349"/>
                </a:cubicBezTo>
                <a:cubicBezTo>
                  <a:pt x="1563487" y="523800"/>
                  <a:pt x="1572164" y="521755"/>
                  <a:pt x="1583202" y="513248"/>
                </a:cubicBezTo>
                <a:close/>
                <a:moveTo>
                  <a:pt x="1844159" y="571442"/>
                </a:moveTo>
                <a:cubicBezTo>
                  <a:pt x="1820573" y="560972"/>
                  <a:pt x="1801792" y="538649"/>
                  <a:pt x="1794900" y="512886"/>
                </a:cubicBezTo>
                <a:cubicBezTo>
                  <a:pt x="1781116" y="461386"/>
                  <a:pt x="1827712" y="409189"/>
                  <a:pt x="1887460" y="409189"/>
                </a:cubicBezTo>
                <a:cubicBezTo>
                  <a:pt x="1990865" y="409189"/>
                  <a:pt x="2023238" y="529997"/>
                  <a:pt x="1931227" y="572436"/>
                </a:cubicBezTo>
                <a:cubicBezTo>
                  <a:pt x="1908273" y="583013"/>
                  <a:pt x="1869228" y="582565"/>
                  <a:pt x="1844159" y="571442"/>
                </a:cubicBezTo>
                <a:close/>
                <a:moveTo>
                  <a:pt x="1911101" y="513248"/>
                </a:moveTo>
                <a:cubicBezTo>
                  <a:pt x="1920766" y="505799"/>
                  <a:pt x="1921095" y="489300"/>
                  <a:pt x="1911787" y="477394"/>
                </a:cubicBezTo>
                <a:cubicBezTo>
                  <a:pt x="1901793" y="464585"/>
                  <a:pt x="1876559" y="466738"/>
                  <a:pt x="1864368" y="481439"/>
                </a:cubicBezTo>
                <a:cubicBezTo>
                  <a:pt x="1856625" y="490774"/>
                  <a:pt x="1856213" y="493613"/>
                  <a:pt x="1861046" y="504086"/>
                </a:cubicBezTo>
                <a:cubicBezTo>
                  <a:pt x="1869805" y="523037"/>
                  <a:pt x="1892897" y="527265"/>
                  <a:pt x="1911101" y="513248"/>
                </a:cubicBezTo>
                <a:close/>
                <a:moveTo>
                  <a:pt x="1706157" y="432278"/>
                </a:moveTo>
                <a:cubicBezTo>
                  <a:pt x="1662307" y="425381"/>
                  <a:pt x="1629440" y="389318"/>
                  <a:pt x="1629907" y="348631"/>
                </a:cubicBezTo>
                <a:cubicBezTo>
                  <a:pt x="1630209" y="322593"/>
                  <a:pt x="1635151" y="310820"/>
                  <a:pt x="1653768" y="291811"/>
                </a:cubicBezTo>
                <a:cubicBezTo>
                  <a:pt x="1711786" y="232551"/>
                  <a:pt x="1820875" y="268323"/>
                  <a:pt x="1821259" y="346748"/>
                </a:cubicBezTo>
                <a:cubicBezTo>
                  <a:pt x="1821561" y="402641"/>
                  <a:pt x="1768486" y="442084"/>
                  <a:pt x="1706157" y="432278"/>
                </a:cubicBezTo>
                <a:close/>
                <a:moveTo>
                  <a:pt x="1747151" y="366391"/>
                </a:moveTo>
                <a:cubicBezTo>
                  <a:pt x="1756954" y="358678"/>
                  <a:pt x="1757173" y="338565"/>
                  <a:pt x="1747563" y="329054"/>
                </a:cubicBezTo>
                <a:cubicBezTo>
                  <a:pt x="1726311" y="308005"/>
                  <a:pt x="1684740" y="333230"/>
                  <a:pt x="1697920" y="359172"/>
                </a:cubicBezTo>
                <a:cubicBezTo>
                  <a:pt x="1706953" y="376951"/>
                  <a:pt x="1729524" y="380263"/>
                  <a:pt x="1747151" y="366391"/>
                </a:cubicBezTo>
                <a:close/>
              </a:path>
            </a:pathLst>
          </a:custGeom>
          <a:solidFill>
            <a:schemeClr val="bg1"/>
          </a:solidFill>
          <a:ln w="4188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150395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E86EF-3F3A-8D49-8900-7E36D9552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91440" rIns="91440" bIns="91440">
            <a:noAutofit/>
          </a:bodyPr>
          <a:lstStyle/>
          <a:p>
            <a:r>
              <a:rPr lang="en-GB" sz="2400" dirty="0"/>
              <a:t>What are the chances your business will survive?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DC2D31-9264-B441-8131-B0E886F40F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31A60A-7068-7D43-A743-240A645E26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pc="100" dirty="0">
                <a:latin typeface="Poppins Medium" panose="00000600000000000000" pitchFamily="2" charset="0"/>
                <a:cs typeface="Poppins Medium" panose="00000600000000000000" pitchFamily="2" charset="0"/>
              </a:rPr>
              <a:t>Subtitle goes here in Poppins Medium size 9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CEF719A-5733-4723-96A3-DF370E213B12}"/>
              </a:ext>
            </a:extLst>
          </p:cNvPr>
          <p:cNvSpPr>
            <a:spLocks/>
          </p:cNvSpPr>
          <p:nvPr/>
        </p:nvSpPr>
        <p:spPr>
          <a:xfrm>
            <a:off x="3158653" y="4539116"/>
            <a:ext cx="1104423" cy="5407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75" b="1" kern="0" dirty="0">
                <a:solidFill>
                  <a:srgbClr val="509AAF"/>
                </a:solidFill>
              </a:rPr>
              <a:t>70%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9C956DE-A7B5-45EA-AA8B-499E4A8C9B15}"/>
              </a:ext>
            </a:extLst>
          </p:cNvPr>
          <p:cNvSpPr>
            <a:spLocks/>
          </p:cNvSpPr>
          <p:nvPr/>
        </p:nvSpPr>
        <p:spPr>
          <a:xfrm>
            <a:off x="5720876" y="4543451"/>
            <a:ext cx="1104423" cy="5407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75" b="1" kern="0" dirty="0">
                <a:solidFill>
                  <a:srgbClr val="509AAF"/>
                </a:solidFill>
              </a:rPr>
              <a:t>50%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B27DF50-57A4-4849-98D6-D9527EA63011}"/>
              </a:ext>
            </a:extLst>
          </p:cNvPr>
          <p:cNvSpPr>
            <a:spLocks/>
          </p:cNvSpPr>
          <p:nvPr/>
        </p:nvSpPr>
        <p:spPr>
          <a:xfrm>
            <a:off x="641475" y="4539116"/>
            <a:ext cx="1104423" cy="5407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75" b="1" kern="0" dirty="0">
                <a:solidFill>
                  <a:srgbClr val="509AAF"/>
                </a:solidFill>
              </a:rPr>
              <a:t>80%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1F1ED2-335A-4191-865A-D254F6D6CAD0}"/>
              </a:ext>
            </a:extLst>
          </p:cNvPr>
          <p:cNvSpPr>
            <a:spLocks/>
          </p:cNvSpPr>
          <p:nvPr/>
        </p:nvSpPr>
        <p:spPr>
          <a:xfrm>
            <a:off x="8156644" y="4539116"/>
            <a:ext cx="1104423" cy="5407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75" b="1" kern="0" dirty="0">
                <a:solidFill>
                  <a:srgbClr val="509AAF"/>
                </a:solidFill>
              </a:rPr>
              <a:t>10%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C149DC9-7132-49FE-B5AE-5D99D636D72A}"/>
              </a:ext>
            </a:extLst>
          </p:cNvPr>
          <p:cNvSpPr/>
          <p:nvPr/>
        </p:nvSpPr>
        <p:spPr>
          <a:xfrm>
            <a:off x="417513" y="420167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088D020-8353-48C2-BAD2-75A47C770691}"/>
              </a:ext>
            </a:extLst>
          </p:cNvPr>
          <p:cNvSpPr/>
          <p:nvPr/>
        </p:nvSpPr>
        <p:spPr>
          <a:xfrm>
            <a:off x="1199479" y="420167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43FE4DF-2805-41C7-B929-310703B2755B}"/>
              </a:ext>
            </a:extLst>
          </p:cNvPr>
          <p:cNvSpPr/>
          <p:nvPr/>
        </p:nvSpPr>
        <p:spPr>
          <a:xfrm>
            <a:off x="417513" y="241488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124CBFB-2710-440F-BC89-09E1052304E4}"/>
              </a:ext>
            </a:extLst>
          </p:cNvPr>
          <p:cNvSpPr/>
          <p:nvPr/>
        </p:nvSpPr>
        <p:spPr>
          <a:xfrm>
            <a:off x="417513" y="2117081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514D867-CE8F-4FB4-97D6-1C8E02D442B6}"/>
              </a:ext>
            </a:extLst>
          </p:cNvPr>
          <p:cNvSpPr/>
          <p:nvPr/>
        </p:nvSpPr>
        <p:spPr>
          <a:xfrm>
            <a:off x="1201105" y="2414879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598DCAC-749E-414E-AC08-6D6C56210EC1}"/>
              </a:ext>
            </a:extLst>
          </p:cNvPr>
          <p:cNvSpPr/>
          <p:nvPr/>
        </p:nvSpPr>
        <p:spPr>
          <a:xfrm>
            <a:off x="1201105" y="211708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109F38E-E811-4BDD-9DD4-19BB2D8AE24F}"/>
              </a:ext>
            </a:extLst>
          </p:cNvPr>
          <p:cNvSpPr/>
          <p:nvPr/>
        </p:nvSpPr>
        <p:spPr>
          <a:xfrm>
            <a:off x="417513" y="301048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ED9F973-A80D-4CED-A8EC-7A0940E76E2F}"/>
              </a:ext>
            </a:extLst>
          </p:cNvPr>
          <p:cNvSpPr/>
          <p:nvPr/>
        </p:nvSpPr>
        <p:spPr>
          <a:xfrm>
            <a:off x="417513" y="2712681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ACBC829D-9944-4CBC-9164-1AE7DE52394A}"/>
              </a:ext>
            </a:extLst>
          </p:cNvPr>
          <p:cNvSpPr/>
          <p:nvPr/>
        </p:nvSpPr>
        <p:spPr>
          <a:xfrm>
            <a:off x="1201105" y="3010479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A4B9E26-C130-42F9-8CD6-020DB90708AC}"/>
              </a:ext>
            </a:extLst>
          </p:cNvPr>
          <p:cNvSpPr/>
          <p:nvPr/>
        </p:nvSpPr>
        <p:spPr>
          <a:xfrm>
            <a:off x="1201105" y="2712679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F77A2E9-3D03-4F5E-B161-54EBA47B6625}"/>
              </a:ext>
            </a:extLst>
          </p:cNvPr>
          <p:cNvSpPr/>
          <p:nvPr/>
        </p:nvSpPr>
        <p:spPr>
          <a:xfrm>
            <a:off x="417513" y="3606081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42F39278-F73E-4495-8D6B-8F202AD42BFE}"/>
              </a:ext>
            </a:extLst>
          </p:cNvPr>
          <p:cNvSpPr/>
          <p:nvPr/>
        </p:nvSpPr>
        <p:spPr>
          <a:xfrm>
            <a:off x="417513" y="330828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452C94AA-D26D-4DDF-85EF-E5D0A48FF6FA}"/>
              </a:ext>
            </a:extLst>
          </p:cNvPr>
          <p:cNvSpPr/>
          <p:nvPr/>
        </p:nvSpPr>
        <p:spPr>
          <a:xfrm>
            <a:off x="1201105" y="360607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E7A349F-F39A-4944-9D3B-8AAE79416516}"/>
              </a:ext>
            </a:extLst>
          </p:cNvPr>
          <p:cNvSpPr/>
          <p:nvPr/>
        </p:nvSpPr>
        <p:spPr>
          <a:xfrm>
            <a:off x="1201105" y="330827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4DAFF542-C47E-4ED8-94FD-6E6615AAA4F2}"/>
              </a:ext>
            </a:extLst>
          </p:cNvPr>
          <p:cNvSpPr/>
          <p:nvPr/>
        </p:nvSpPr>
        <p:spPr>
          <a:xfrm>
            <a:off x="417513" y="390388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B02F057F-BD0B-4C99-93F8-4E85416A9F1C}"/>
              </a:ext>
            </a:extLst>
          </p:cNvPr>
          <p:cNvSpPr/>
          <p:nvPr/>
        </p:nvSpPr>
        <p:spPr>
          <a:xfrm>
            <a:off x="1201105" y="390387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E27E1D93-F8F8-475F-8DD1-DC6C753FE5F0}"/>
              </a:ext>
            </a:extLst>
          </p:cNvPr>
          <p:cNvSpPr/>
          <p:nvPr/>
        </p:nvSpPr>
        <p:spPr>
          <a:xfrm>
            <a:off x="417513" y="1819281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8FA2AC95-4153-4BBB-9E56-5287F7B663F8}"/>
              </a:ext>
            </a:extLst>
          </p:cNvPr>
          <p:cNvSpPr/>
          <p:nvPr/>
        </p:nvSpPr>
        <p:spPr>
          <a:xfrm>
            <a:off x="417513" y="1521480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D7602B15-4848-477C-B169-6701173FA575}"/>
              </a:ext>
            </a:extLst>
          </p:cNvPr>
          <p:cNvSpPr/>
          <p:nvPr/>
        </p:nvSpPr>
        <p:spPr>
          <a:xfrm>
            <a:off x="1197951" y="1819280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8BF5EDF7-B84B-4EBD-9188-B9A1148EB501}"/>
              </a:ext>
            </a:extLst>
          </p:cNvPr>
          <p:cNvSpPr/>
          <p:nvPr/>
        </p:nvSpPr>
        <p:spPr>
          <a:xfrm>
            <a:off x="1197951" y="1521480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CA69CAD-5B92-4DE6-9BDE-B5D3734FC69D}"/>
              </a:ext>
            </a:extLst>
          </p:cNvPr>
          <p:cNvSpPr/>
          <p:nvPr/>
        </p:nvSpPr>
        <p:spPr>
          <a:xfrm>
            <a:off x="2930427" y="420363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36BEE73D-E70D-4ADF-809F-6CAAF17BC11E}"/>
              </a:ext>
            </a:extLst>
          </p:cNvPr>
          <p:cNvSpPr/>
          <p:nvPr/>
        </p:nvSpPr>
        <p:spPr>
          <a:xfrm>
            <a:off x="3712393" y="420363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1407439A-C4A6-4188-8FD2-7DB4508B78B6}"/>
              </a:ext>
            </a:extLst>
          </p:cNvPr>
          <p:cNvSpPr/>
          <p:nvPr/>
        </p:nvSpPr>
        <p:spPr>
          <a:xfrm>
            <a:off x="2930427" y="241684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37E5EAD3-FE0C-4434-9781-CF252C3DF72D}"/>
              </a:ext>
            </a:extLst>
          </p:cNvPr>
          <p:cNvSpPr/>
          <p:nvPr/>
        </p:nvSpPr>
        <p:spPr>
          <a:xfrm>
            <a:off x="2930427" y="2119041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4CCC1653-8122-49D8-835F-215B6D7EB7F3}"/>
              </a:ext>
            </a:extLst>
          </p:cNvPr>
          <p:cNvSpPr/>
          <p:nvPr/>
        </p:nvSpPr>
        <p:spPr>
          <a:xfrm>
            <a:off x="3714019" y="2416839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9D1A0C4F-430D-4FBC-B527-87CBEEC8A6FE}"/>
              </a:ext>
            </a:extLst>
          </p:cNvPr>
          <p:cNvSpPr/>
          <p:nvPr/>
        </p:nvSpPr>
        <p:spPr>
          <a:xfrm>
            <a:off x="3714019" y="2119040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F7B55AAF-2DF0-4FDA-9036-B690D8F97BE5}"/>
              </a:ext>
            </a:extLst>
          </p:cNvPr>
          <p:cNvSpPr/>
          <p:nvPr/>
        </p:nvSpPr>
        <p:spPr>
          <a:xfrm>
            <a:off x="2930427" y="301244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FDB3EB5-DBCF-4AD9-AED8-1D66F6F043A5}"/>
              </a:ext>
            </a:extLst>
          </p:cNvPr>
          <p:cNvSpPr/>
          <p:nvPr/>
        </p:nvSpPr>
        <p:spPr>
          <a:xfrm>
            <a:off x="2930427" y="2714641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EDF9A171-0037-4034-9F72-6A50D3C4BDDF}"/>
              </a:ext>
            </a:extLst>
          </p:cNvPr>
          <p:cNvSpPr/>
          <p:nvPr/>
        </p:nvSpPr>
        <p:spPr>
          <a:xfrm>
            <a:off x="3714019" y="301243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089F1855-1831-4C45-B800-5D97091FE19F}"/>
              </a:ext>
            </a:extLst>
          </p:cNvPr>
          <p:cNvSpPr/>
          <p:nvPr/>
        </p:nvSpPr>
        <p:spPr>
          <a:xfrm>
            <a:off x="3714019" y="2714639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C20E27A2-36D8-4C82-BF92-E6A2A19C316A}"/>
              </a:ext>
            </a:extLst>
          </p:cNvPr>
          <p:cNvSpPr/>
          <p:nvPr/>
        </p:nvSpPr>
        <p:spPr>
          <a:xfrm>
            <a:off x="2930427" y="3608041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2B0AF7DA-5909-487C-A727-18303F828835}"/>
              </a:ext>
            </a:extLst>
          </p:cNvPr>
          <p:cNvSpPr/>
          <p:nvPr/>
        </p:nvSpPr>
        <p:spPr>
          <a:xfrm>
            <a:off x="2930427" y="331024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77808FE3-16C9-4C97-9F2A-A2C0DEA7C2F4}"/>
              </a:ext>
            </a:extLst>
          </p:cNvPr>
          <p:cNvSpPr/>
          <p:nvPr/>
        </p:nvSpPr>
        <p:spPr>
          <a:xfrm>
            <a:off x="3714019" y="360803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181D81DA-7722-410A-8C22-28D5A6E48476}"/>
              </a:ext>
            </a:extLst>
          </p:cNvPr>
          <p:cNvSpPr/>
          <p:nvPr/>
        </p:nvSpPr>
        <p:spPr>
          <a:xfrm>
            <a:off x="3714019" y="3310238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FE4461BE-C722-4DE3-BED4-06A7A4486BE7}"/>
              </a:ext>
            </a:extLst>
          </p:cNvPr>
          <p:cNvSpPr/>
          <p:nvPr/>
        </p:nvSpPr>
        <p:spPr>
          <a:xfrm>
            <a:off x="2930427" y="3905840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6E96F2EE-895B-4E26-9463-C548FAF5F33D}"/>
              </a:ext>
            </a:extLst>
          </p:cNvPr>
          <p:cNvSpPr/>
          <p:nvPr/>
        </p:nvSpPr>
        <p:spPr>
          <a:xfrm>
            <a:off x="3714019" y="3905837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E110563A-ADA1-47D4-A7F0-5EE31AB19ED5}"/>
              </a:ext>
            </a:extLst>
          </p:cNvPr>
          <p:cNvSpPr/>
          <p:nvPr/>
        </p:nvSpPr>
        <p:spPr>
          <a:xfrm>
            <a:off x="2930427" y="1821241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ACE22EB4-0CA5-4FDD-9760-9AC089AB7EBB}"/>
              </a:ext>
            </a:extLst>
          </p:cNvPr>
          <p:cNvSpPr/>
          <p:nvPr/>
        </p:nvSpPr>
        <p:spPr>
          <a:xfrm>
            <a:off x="2930427" y="1523440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13B0918C-3670-4B51-B840-82261A82737B}"/>
              </a:ext>
            </a:extLst>
          </p:cNvPr>
          <p:cNvSpPr/>
          <p:nvPr/>
        </p:nvSpPr>
        <p:spPr>
          <a:xfrm>
            <a:off x="3710865" y="1821240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B78E795E-D08B-45EA-BE04-1A95B5FEDDFD}"/>
              </a:ext>
            </a:extLst>
          </p:cNvPr>
          <p:cNvSpPr/>
          <p:nvPr/>
        </p:nvSpPr>
        <p:spPr>
          <a:xfrm>
            <a:off x="3710865" y="1523440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81ECC26E-1646-4404-9A13-2D87790C363A}"/>
              </a:ext>
            </a:extLst>
          </p:cNvPr>
          <p:cNvSpPr/>
          <p:nvPr/>
        </p:nvSpPr>
        <p:spPr>
          <a:xfrm>
            <a:off x="5443341" y="4201023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E5DBE62D-87B9-4C5D-8F7B-FC33DF0AE2C7}"/>
              </a:ext>
            </a:extLst>
          </p:cNvPr>
          <p:cNvSpPr/>
          <p:nvPr/>
        </p:nvSpPr>
        <p:spPr>
          <a:xfrm>
            <a:off x="6225307" y="4201023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882A31A8-750B-4C56-A292-2AE29F93E517}"/>
              </a:ext>
            </a:extLst>
          </p:cNvPr>
          <p:cNvSpPr/>
          <p:nvPr/>
        </p:nvSpPr>
        <p:spPr>
          <a:xfrm>
            <a:off x="5443341" y="241422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F3FD97E9-2D18-4F96-BFF0-59BC57728FB6}"/>
              </a:ext>
            </a:extLst>
          </p:cNvPr>
          <p:cNvSpPr/>
          <p:nvPr/>
        </p:nvSpPr>
        <p:spPr>
          <a:xfrm>
            <a:off x="5443341" y="211642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AA6C0209-7BF3-47C3-B08C-9C2EFD645DAA}"/>
              </a:ext>
            </a:extLst>
          </p:cNvPr>
          <p:cNvSpPr/>
          <p:nvPr/>
        </p:nvSpPr>
        <p:spPr>
          <a:xfrm>
            <a:off x="6226933" y="2414224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B492B953-AD4D-458B-B7EA-F81EACEB3247}"/>
              </a:ext>
            </a:extLst>
          </p:cNvPr>
          <p:cNvSpPr/>
          <p:nvPr/>
        </p:nvSpPr>
        <p:spPr>
          <a:xfrm>
            <a:off x="6226933" y="2116424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1A7FC958-8E7A-45E9-A77A-4882B4C85887}"/>
              </a:ext>
            </a:extLst>
          </p:cNvPr>
          <p:cNvSpPr/>
          <p:nvPr/>
        </p:nvSpPr>
        <p:spPr>
          <a:xfrm>
            <a:off x="5443341" y="3009825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E3AF0E05-FBB4-412A-BD4E-D120E670EDC4}"/>
              </a:ext>
            </a:extLst>
          </p:cNvPr>
          <p:cNvSpPr/>
          <p:nvPr/>
        </p:nvSpPr>
        <p:spPr>
          <a:xfrm>
            <a:off x="5443341" y="271202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3741AEBB-4B26-4692-95D2-23FA0C6AD204}"/>
              </a:ext>
            </a:extLst>
          </p:cNvPr>
          <p:cNvSpPr/>
          <p:nvPr/>
        </p:nvSpPr>
        <p:spPr>
          <a:xfrm>
            <a:off x="6226933" y="3009823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2E742E1A-7CC7-4E53-BFA1-7D3FB787709F}"/>
              </a:ext>
            </a:extLst>
          </p:cNvPr>
          <p:cNvSpPr/>
          <p:nvPr/>
        </p:nvSpPr>
        <p:spPr>
          <a:xfrm>
            <a:off x="6226933" y="2712024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D13EC6C2-99AC-47AD-821C-9A6EDAC53366}"/>
              </a:ext>
            </a:extLst>
          </p:cNvPr>
          <p:cNvSpPr/>
          <p:nvPr/>
        </p:nvSpPr>
        <p:spPr>
          <a:xfrm>
            <a:off x="5443341" y="3605425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BEB8E1E0-A3FA-4D7A-9727-18BA944DF526}"/>
              </a:ext>
            </a:extLst>
          </p:cNvPr>
          <p:cNvSpPr/>
          <p:nvPr/>
        </p:nvSpPr>
        <p:spPr>
          <a:xfrm>
            <a:off x="5443341" y="3307625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18330283-E761-4B7C-811A-75B2FA7F73EC}"/>
              </a:ext>
            </a:extLst>
          </p:cNvPr>
          <p:cNvSpPr/>
          <p:nvPr/>
        </p:nvSpPr>
        <p:spPr>
          <a:xfrm>
            <a:off x="6226933" y="3605422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8C08CE1F-9BCC-4C2A-9F39-8B2BC6147596}"/>
              </a:ext>
            </a:extLst>
          </p:cNvPr>
          <p:cNvSpPr/>
          <p:nvPr/>
        </p:nvSpPr>
        <p:spPr>
          <a:xfrm>
            <a:off x="6226933" y="3307623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7D22580C-D6F4-41F8-8498-39585DDED64C}"/>
              </a:ext>
            </a:extLst>
          </p:cNvPr>
          <p:cNvSpPr/>
          <p:nvPr/>
        </p:nvSpPr>
        <p:spPr>
          <a:xfrm>
            <a:off x="5443341" y="3903225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DD729A38-B1C2-4ACE-9E59-C672B4138F2C}"/>
              </a:ext>
            </a:extLst>
          </p:cNvPr>
          <p:cNvSpPr/>
          <p:nvPr/>
        </p:nvSpPr>
        <p:spPr>
          <a:xfrm>
            <a:off x="6226933" y="3903222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9E36C39E-26BE-4F6E-8163-C71B62381B6B}"/>
              </a:ext>
            </a:extLst>
          </p:cNvPr>
          <p:cNvSpPr/>
          <p:nvPr/>
        </p:nvSpPr>
        <p:spPr>
          <a:xfrm>
            <a:off x="5443341" y="1818626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A418EC18-F36F-44F3-9313-1ADC4BC28C06}"/>
              </a:ext>
            </a:extLst>
          </p:cNvPr>
          <p:cNvSpPr/>
          <p:nvPr/>
        </p:nvSpPr>
        <p:spPr>
          <a:xfrm>
            <a:off x="5443341" y="152082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A8002BEE-A7EF-472F-B551-6128E8CAE4DA}"/>
              </a:ext>
            </a:extLst>
          </p:cNvPr>
          <p:cNvSpPr/>
          <p:nvPr/>
        </p:nvSpPr>
        <p:spPr>
          <a:xfrm>
            <a:off x="6223779" y="181862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2EB67571-9AE4-437E-B894-5100C40ED529}"/>
              </a:ext>
            </a:extLst>
          </p:cNvPr>
          <p:cNvSpPr/>
          <p:nvPr/>
        </p:nvSpPr>
        <p:spPr>
          <a:xfrm>
            <a:off x="6223779" y="152082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35297745-8675-4E45-9A3A-0C6B0C50B0A8}"/>
              </a:ext>
            </a:extLst>
          </p:cNvPr>
          <p:cNvSpPr/>
          <p:nvPr/>
        </p:nvSpPr>
        <p:spPr>
          <a:xfrm>
            <a:off x="7956256" y="4202334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7A31F88B-D696-4C48-AF04-8AC7895E907A}"/>
              </a:ext>
            </a:extLst>
          </p:cNvPr>
          <p:cNvSpPr/>
          <p:nvPr/>
        </p:nvSpPr>
        <p:spPr>
          <a:xfrm>
            <a:off x="8738222" y="4202334"/>
            <a:ext cx="752600" cy="253423"/>
          </a:xfrm>
          <a:prstGeom prst="roundRect">
            <a:avLst/>
          </a:prstGeom>
          <a:solidFill>
            <a:srgbClr val="7DD8C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6D1FB09-B81B-4DAA-B4F8-0757CDB0E5AD}"/>
              </a:ext>
            </a:extLst>
          </p:cNvPr>
          <p:cNvSpPr/>
          <p:nvPr/>
        </p:nvSpPr>
        <p:spPr>
          <a:xfrm>
            <a:off x="7956256" y="24155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2329B934-FC8C-4ED5-A691-7C34BAA1B640}"/>
              </a:ext>
            </a:extLst>
          </p:cNvPr>
          <p:cNvSpPr/>
          <p:nvPr/>
        </p:nvSpPr>
        <p:spPr>
          <a:xfrm>
            <a:off x="7956256" y="21177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C49825E5-07C0-4643-8E91-1FABA3E6D0AB}"/>
              </a:ext>
            </a:extLst>
          </p:cNvPr>
          <p:cNvSpPr/>
          <p:nvPr/>
        </p:nvSpPr>
        <p:spPr>
          <a:xfrm>
            <a:off x="8739848" y="2415536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975559EB-5EBE-4A64-A35B-765F633B5C8F}"/>
              </a:ext>
            </a:extLst>
          </p:cNvPr>
          <p:cNvSpPr/>
          <p:nvPr/>
        </p:nvSpPr>
        <p:spPr>
          <a:xfrm>
            <a:off x="8739848" y="2117736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547849BF-2215-436F-87AD-620F2B273A25}"/>
              </a:ext>
            </a:extLst>
          </p:cNvPr>
          <p:cNvSpPr/>
          <p:nvPr/>
        </p:nvSpPr>
        <p:spPr>
          <a:xfrm>
            <a:off x="7956256" y="30111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2C734622-A8FD-4E08-BEDE-C0D571DDDE7F}"/>
              </a:ext>
            </a:extLst>
          </p:cNvPr>
          <p:cNvSpPr/>
          <p:nvPr/>
        </p:nvSpPr>
        <p:spPr>
          <a:xfrm>
            <a:off x="7956256" y="27133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31D0DBD5-C4E1-4139-AD90-09A68B623011}"/>
              </a:ext>
            </a:extLst>
          </p:cNvPr>
          <p:cNvSpPr/>
          <p:nvPr/>
        </p:nvSpPr>
        <p:spPr>
          <a:xfrm>
            <a:off x="8739848" y="301113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AAA66A22-5EE8-4D51-A3EE-96107F6A762A}"/>
              </a:ext>
            </a:extLst>
          </p:cNvPr>
          <p:cNvSpPr/>
          <p:nvPr/>
        </p:nvSpPr>
        <p:spPr>
          <a:xfrm>
            <a:off x="8739848" y="271333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5B4A342D-3DEA-46D5-A4CA-FC67F7A23CBF}"/>
              </a:ext>
            </a:extLst>
          </p:cNvPr>
          <p:cNvSpPr/>
          <p:nvPr/>
        </p:nvSpPr>
        <p:spPr>
          <a:xfrm>
            <a:off x="7956256" y="36067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DCD29944-145D-4646-B6FD-D6C28BC19CA6}"/>
              </a:ext>
            </a:extLst>
          </p:cNvPr>
          <p:cNvSpPr/>
          <p:nvPr/>
        </p:nvSpPr>
        <p:spPr>
          <a:xfrm>
            <a:off x="7956256" y="33089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27743CFF-A81D-4227-81AB-5B8E6F0003F0}"/>
              </a:ext>
            </a:extLst>
          </p:cNvPr>
          <p:cNvSpPr/>
          <p:nvPr/>
        </p:nvSpPr>
        <p:spPr>
          <a:xfrm>
            <a:off x="8739848" y="3606734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0605C139-336C-472C-A5C2-CB05FC83D338}"/>
              </a:ext>
            </a:extLst>
          </p:cNvPr>
          <p:cNvSpPr/>
          <p:nvPr/>
        </p:nvSpPr>
        <p:spPr>
          <a:xfrm>
            <a:off x="8739848" y="3308935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9852337A-02D1-49C1-B29B-7E8BE4235770}"/>
              </a:ext>
            </a:extLst>
          </p:cNvPr>
          <p:cNvSpPr/>
          <p:nvPr/>
        </p:nvSpPr>
        <p:spPr>
          <a:xfrm>
            <a:off x="7956256" y="39045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22A76CAE-F23C-4423-B223-0EF46BCE8D0C}"/>
              </a:ext>
            </a:extLst>
          </p:cNvPr>
          <p:cNvSpPr/>
          <p:nvPr/>
        </p:nvSpPr>
        <p:spPr>
          <a:xfrm>
            <a:off x="8739848" y="3904534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250BFBAF-286B-4A57-B380-8CA4F93824E1}"/>
              </a:ext>
            </a:extLst>
          </p:cNvPr>
          <p:cNvSpPr/>
          <p:nvPr/>
        </p:nvSpPr>
        <p:spPr>
          <a:xfrm>
            <a:off x="7956256" y="18199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949A69A8-D012-4FD2-B0D9-5D1705C75FC4}"/>
              </a:ext>
            </a:extLst>
          </p:cNvPr>
          <p:cNvSpPr/>
          <p:nvPr/>
        </p:nvSpPr>
        <p:spPr>
          <a:xfrm>
            <a:off x="7956256" y="15221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739D12C6-05E6-4FA5-AD60-CF12287AB6F6}"/>
              </a:ext>
            </a:extLst>
          </p:cNvPr>
          <p:cNvSpPr/>
          <p:nvPr/>
        </p:nvSpPr>
        <p:spPr>
          <a:xfrm>
            <a:off x="8736694" y="1819936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E06A1550-E365-4330-B9FB-E3594B8DC9CB}"/>
              </a:ext>
            </a:extLst>
          </p:cNvPr>
          <p:cNvSpPr/>
          <p:nvPr/>
        </p:nvSpPr>
        <p:spPr>
          <a:xfrm>
            <a:off x="8736694" y="1522137"/>
            <a:ext cx="752600" cy="2534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no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effectLst>
                <a:glow>
                  <a:scrgbClr r="0" g="0" b="0"/>
                </a:glow>
              </a:effectLst>
              <a:latin typeface="Calibri"/>
            </a:endParaRP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23903D30-9564-4D70-96D9-5544250B83D4}"/>
              </a:ext>
            </a:extLst>
          </p:cNvPr>
          <p:cNvSpPr/>
          <p:nvPr/>
        </p:nvSpPr>
        <p:spPr bwMode="auto">
          <a:xfrm>
            <a:off x="419646" y="5108494"/>
            <a:ext cx="2084832" cy="1180907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AEA2B643-8080-48BC-A411-0795422E6A38}"/>
              </a:ext>
            </a:extLst>
          </p:cNvPr>
          <p:cNvSpPr/>
          <p:nvPr/>
        </p:nvSpPr>
        <p:spPr bwMode="auto">
          <a:xfrm>
            <a:off x="2747787" y="5104280"/>
            <a:ext cx="2084832" cy="1180907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66775AC0-1159-4277-BECE-3418969D2269}"/>
              </a:ext>
            </a:extLst>
          </p:cNvPr>
          <p:cNvSpPr/>
          <p:nvPr/>
        </p:nvSpPr>
        <p:spPr bwMode="auto">
          <a:xfrm>
            <a:off x="5075928" y="5104280"/>
            <a:ext cx="2084832" cy="1180907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79625E2F-6FD7-4B39-9B5B-A6B934B143CE}"/>
              </a:ext>
            </a:extLst>
          </p:cNvPr>
          <p:cNvSpPr/>
          <p:nvPr/>
        </p:nvSpPr>
        <p:spPr bwMode="auto">
          <a:xfrm>
            <a:off x="7404069" y="5108230"/>
            <a:ext cx="2084832" cy="1180907"/>
          </a:xfrm>
          <a:prstGeom prst="round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4257BCF4-A6B1-4886-A147-63959DE085E3}"/>
              </a:ext>
            </a:extLst>
          </p:cNvPr>
          <p:cNvSpPr txBox="1"/>
          <p:nvPr/>
        </p:nvSpPr>
        <p:spPr>
          <a:xfrm>
            <a:off x="450779" y="4967069"/>
            <a:ext cx="2001613" cy="1310246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lvl="0" algn="ctr">
              <a:defRPr/>
            </a:pPr>
            <a:r>
              <a:rPr lang="en-US" sz="1400" kern="0" dirty="0">
                <a:solidFill>
                  <a:srgbClr val="509AAF"/>
                </a:solidFill>
                <a:latin typeface="IBM Plex Sans Light" panose="020B0604020202020204" charset="0"/>
              </a:rPr>
              <a:t>About 80% of businesses with employees will survive their first year in business</a:t>
            </a:r>
            <a:r>
              <a:rPr lang="en-US" sz="1400" kern="0" dirty="0">
                <a:solidFill>
                  <a:srgbClr val="509AAF"/>
                </a:solidFill>
                <a:latin typeface="+mn-lt"/>
              </a:rPr>
              <a:t>.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E7A2E6D1-2EFF-4A64-89E5-7F60AEFA4201}"/>
              </a:ext>
            </a:extLst>
          </p:cNvPr>
          <p:cNvSpPr txBox="1"/>
          <p:nvPr/>
        </p:nvSpPr>
        <p:spPr>
          <a:xfrm>
            <a:off x="5071982" y="4956565"/>
            <a:ext cx="2088778" cy="1350651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lvl="0">
              <a:defRPr/>
            </a:pPr>
            <a:r>
              <a:rPr lang="en-US" sz="1400" kern="0" dirty="0">
                <a:solidFill>
                  <a:srgbClr val="509AAF"/>
                </a:solidFill>
                <a:latin typeface="IBM Plex Sans Light" panose="020B0604020202020204" charset="0"/>
              </a:rPr>
              <a:t>About 50% of businesses with employees will survive their fifth year in business.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DEB17460-C44B-473B-B015-02DF5AEEA298}"/>
              </a:ext>
            </a:extLst>
          </p:cNvPr>
          <p:cNvSpPr txBox="1"/>
          <p:nvPr/>
        </p:nvSpPr>
        <p:spPr>
          <a:xfrm>
            <a:off x="7494680" y="4970746"/>
            <a:ext cx="1995395" cy="1149490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lvl="0" algn="ctr">
              <a:defRPr/>
            </a:pPr>
            <a:r>
              <a:rPr lang="en-US" sz="1400" kern="0" dirty="0">
                <a:solidFill>
                  <a:srgbClr val="509AAF"/>
                </a:solidFill>
                <a:latin typeface="IBM Plex Sans Light" panose="020B0604020202020204" charset="0"/>
              </a:rPr>
              <a:t>About 10% of businesses will survive their 10th year in business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A578025C-ACC8-4867-9AE5-E94C527B651D}"/>
              </a:ext>
            </a:extLst>
          </p:cNvPr>
          <p:cNvSpPr txBox="1"/>
          <p:nvPr/>
        </p:nvSpPr>
        <p:spPr>
          <a:xfrm>
            <a:off x="2687361" y="4980067"/>
            <a:ext cx="2290122" cy="1661993"/>
          </a:xfrm>
          <a:prstGeom prst="rect">
            <a:avLst/>
          </a:prstGeom>
          <a:noFill/>
        </p:spPr>
        <p:txBody>
          <a:bodyPr wrap="square" lIns="182880" tIns="182880" rIns="182880" bIns="182880" rtlCol="0">
            <a:noAutofit/>
          </a:bodyPr>
          <a:lstStyle/>
          <a:p>
            <a:pPr lvl="0" algn="ctr">
              <a:defRPr/>
            </a:pPr>
            <a:r>
              <a:rPr lang="en-US" sz="1400" kern="0" dirty="0">
                <a:solidFill>
                  <a:srgbClr val="509AAF"/>
                </a:solidFill>
                <a:latin typeface="IBM Plex Sans Light" panose="020B0604020202020204" charset="0"/>
              </a:rPr>
              <a:t>About 70% of businesses with employees will survive their second year in business</a:t>
            </a:r>
            <a:r>
              <a:rPr lang="en-US" sz="1400" kern="0" dirty="0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9672787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6719C9-67C8-1B4F-ABED-1B5903F57D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144000" tIns="36000" rIns="36000">
            <a:normAutofit/>
          </a:bodyPr>
          <a:lstStyle/>
          <a:p>
            <a:r>
              <a:rPr lang="hu-HU" dirty="0" err="1"/>
              <a:t>Colors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5C50C5-938E-0944-BBC7-3F7229446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2C7169-613C-9D4B-A503-B4B84B11F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pc="1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5" name="Rectangle: Rounded Corners 2">
            <a:extLst>
              <a:ext uri="{FF2B5EF4-FFF2-40B4-BE49-F238E27FC236}">
                <a16:creationId xmlns:a16="http://schemas.microsoft.com/office/drawing/2014/main" id="{87890163-97E4-2D45-80FD-8BD5CFA1DE40}"/>
              </a:ext>
            </a:extLst>
          </p:cNvPr>
          <p:cNvSpPr/>
          <p:nvPr/>
        </p:nvSpPr>
        <p:spPr bwMode="auto">
          <a:xfrm>
            <a:off x="417513" y="1524000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 err="1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Basecolors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: Rounded Corners 21">
            <a:extLst>
              <a:ext uri="{FF2B5EF4-FFF2-40B4-BE49-F238E27FC236}">
                <a16:creationId xmlns:a16="http://schemas.microsoft.com/office/drawing/2014/main" id="{37397B61-1072-6946-9592-71D39F16860C}"/>
              </a:ext>
            </a:extLst>
          </p:cNvPr>
          <p:cNvSpPr/>
          <p:nvPr/>
        </p:nvSpPr>
        <p:spPr bwMode="auto">
          <a:xfrm>
            <a:off x="5193384" y="1524000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Highlight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: Rounded Corners 4">
            <a:extLst>
              <a:ext uri="{FF2B5EF4-FFF2-40B4-BE49-F238E27FC236}">
                <a16:creationId xmlns:a16="http://schemas.microsoft.com/office/drawing/2014/main" id="{C8D71A97-B624-794F-BFE0-5E5E0346E85D}"/>
              </a:ext>
            </a:extLst>
          </p:cNvPr>
          <p:cNvSpPr/>
          <p:nvPr/>
        </p:nvSpPr>
        <p:spPr bwMode="auto">
          <a:xfrm>
            <a:off x="417513" y="2184400"/>
            <a:ext cx="788987" cy="304800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8" name="Rectangle: Rounded Corners 22">
            <a:extLst>
              <a:ext uri="{FF2B5EF4-FFF2-40B4-BE49-F238E27FC236}">
                <a16:creationId xmlns:a16="http://schemas.microsoft.com/office/drawing/2014/main" id="{63BFD4C6-E4DA-344B-9BF9-948DCADA7A96}"/>
              </a:ext>
            </a:extLst>
          </p:cNvPr>
          <p:cNvSpPr/>
          <p:nvPr/>
        </p:nvSpPr>
        <p:spPr bwMode="auto">
          <a:xfrm>
            <a:off x="1585913" y="2184400"/>
            <a:ext cx="788987" cy="304800"/>
          </a:xfrm>
          <a:prstGeom prst="roundRect">
            <a:avLst/>
          </a:prstGeom>
          <a:solidFill>
            <a:srgbClr val="7DD8C7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9" name="Rectangle: Rounded Corners 23">
            <a:extLst>
              <a:ext uri="{FF2B5EF4-FFF2-40B4-BE49-F238E27FC236}">
                <a16:creationId xmlns:a16="http://schemas.microsoft.com/office/drawing/2014/main" id="{8F0C0C53-E2EC-AE42-BF13-F2EA852EB50E}"/>
              </a:ext>
            </a:extLst>
          </p:cNvPr>
          <p:cNvSpPr/>
          <p:nvPr/>
        </p:nvSpPr>
        <p:spPr bwMode="auto">
          <a:xfrm>
            <a:off x="2754313" y="2184400"/>
            <a:ext cx="788987" cy="304800"/>
          </a:xfrm>
          <a:prstGeom prst="roundRect">
            <a:avLst/>
          </a:prstGeom>
          <a:solidFill>
            <a:srgbClr val="F5FFC3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0" name="Rectangle: Rounded Corners 24">
            <a:extLst>
              <a:ext uri="{FF2B5EF4-FFF2-40B4-BE49-F238E27FC236}">
                <a16:creationId xmlns:a16="http://schemas.microsoft.com/office/drawing/2014/main" id="{8E7C3CA5-9371-9846-B7BF-845457CBD81B}"/>
              </a:ext>
            </a:extLst>
          </p:cNvPr>
          <p:cNvSpPr/>
          <p:nvPr/>
        </p:nvSpPr>
        <p:spPr bwMode="auto">
          <a:xfrm>
            <a:off x="3922713" y="2184400"/>
            <a:ext cx="788987" cy="304800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9EEAC8-AF91-FE48-92B5-02044936A087}"/>
              </a:ext>
            </a:extLst>
          </p:cNvPr>
          <p:cNvSpPr txBox="1"/>
          <p:nvPr/>
        </p:nvSpPr>
        <p:spPr>
          <a:xfrm>
            <a:off x="417513" y="2687935"/>
            <a:ext cx="915988" cy="784830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RGB</a:t>
            </a:r>
            <a:b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80, 154, </a:t>
            </a:r>
            <a:b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175</a:t>
            </a:r>
            <a:b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</a:br>
            <a:endParaRPr lang="en-US" dirty="0">
              <a:solidFill>
                <a:srgbClr val="509AAF"/>
              </a:solidFill>
              <a:latin typeface="IBM Plex Sans Light" panose="020B0403050203000203" pitchFamily="34" charset="0"/>
              <a:cs typeface="Poppins Medium" panose="00000600000000000000" pitchFamily="2" charset="0"/>
            </a:endParaRPr>
          </a:p>
        </p:txBody>
      </p:sp>
      <p:sp>
        <p:nvSpPr>
          <p:cNvPr id="12" name="Rectangle: Rounded Corners 26">
            <a:extLst>
              <a:ext uri="{FF2B5EF4-FFF2-40B4-BE49-F238E27FC236}">
                <a16:creationId xmlns:a16="http://schemas.microsoft.com/office/drawing/2014/main" id="{6990D58D-C71E-7E4F-9E05-E33AE5CC323A}"/>
              </a:ext>
            </a:extLst>
          </p:cNvPr>
          <p:cNvSpPr/>
          <p:nvPr/>
        </p:nvSpPr>
        <p:spPr bwMode="auto">
          <a:xfrm>
            <a:off x="5193384" y="2184400"/>
            <a:ext cx="788987" cy="304800"/>
          </a:xfrm>
          <a:prstGeom prst="roundRect">
            <a:avLst/>
          </a:prstGeom>
          <a:solidFill>
            <a:srgbClr val="612C83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FA478BA-75C8-C841-B2D5-5F7FAB41EA67}"/>
              </a:ext>
            </a:extLst>
          </p:cNvPr>
          <p:cNvSpPr txBox="1"/>
          <p:nvPr/>
        </p:nvSpPr>
        <p:spPr>
          <a:xfrm>
            <a:off x="1585913" y="2687935"/>
            <a:ext cx="915988" cy="600164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RGB</a:t>
            </a:r>
            <a:b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125, 216, 199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EDCCC8-FDE9-A240-A603-2DED4CA2EB86}"/>
              </a:ext>
            </a:extLst>
          </p:cNvPr>
          <p:cNvSpPr txBox="1"/>
          <p:nvPr/>
        </p:nvSpPr>
        <p:spPr>
          <a:xfrm>
            <a:off x="2754313" y="2687935"/>
            <a:ext cx="915988" cy="600164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RGB</a:t>
            </a:r>
            <a:b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245, 255, 19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A6A16D0-5B2B-6D49-A6B1-790E09B58F0C}"/>
              </a:ext>
            </a:extLst>
          </p:cNvPr>
          <p:cNvSpPr txBox="1"/>
          <p:nvPr/>
        </p:nvSpPr>
        <p:spPr>
          <a:xfrm>
            <a:off x="3922713" y="2687935"/>
            <a:ext cx="915988" cy="600164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RGB</a:t>
            </a:r>
            <a:b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191, 191, 19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1879499-C9DC-8E48-B16D-4273BC1167AA}"/>
              </a:ext>
            </a:extLst>
          </p:cNvPr>
          <p:cNvSpPr txBox="1"/>
          <p:nvPr/>
        </p:nvSpPr>
        <p:spPr>
          <a:xfrm>
            <a:off x="5193384" y="2687935"/>
            <a:ext cx="915988" cy="415498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rtlCol="0">
            <a:spAutoFit/>
          </a:bodyPr>
          <a:lstStyle/>
          <a:p>
            <a:pPr algn="l"/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RGB</a:t>
            </a:r>
            <a:b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</a:br>
            <a:r>
              <a:rPr lang="en-US" dirty="0">
                <a:solidFill>
                  <a:srgbClr val="509AAF"/>
                </a:solidFill>
                <a:latin typeface="IBM Plex Sans Light" panose="020B0403050203000203" pitchFamily="34" charset="0"/>
                <a:cs typeface="Poppins Medium" panose="00000600000000000000" pitchFamily="2" charset="0"/>
              </a:rPr>
              <a:t>97, 44, 131</a:t>
            </a:r>
          </a:p>
        </p:txBody>
      </p:sp>
    </p:spTree>
    <p:extLst>
      <p:ext uri="{BB962C8B-B14F-4D97-AF65-F5344CB8AC3E}">
        <p14:creationId xmlns:p14="http://schemas.microsoft.com/office/powerpoint/2010/main" val="97049319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65E37E-30CB-F848-9EB0-CF01E4A0F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/>
              <a:t>Icons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857280-FC6F-9049-8DEE-3804307424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5F96D3-9E1F-5543-9DAF-0BB1F73AF8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pc="1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5" name="Rectangle: Rounded Corners 2">
            <a:extLst>
              <a:ext uri="{FF2B5EF4-FFF2-40B4-BE49-F238E27FC236}">
                <a16:creationId xmlns:a16="http://schemas.microsoft.com/office/drawing/2014/main" id="{87A49F17-E7F9-2640-B687-B3BDF7CD3791}"/>
              </a:ext>
            </a:extLst>
          </p:cNvPr>
          <p:cNvSpPr/>
          <p:nvPr/>
        </p:nvSpPr>
        <p:spPr bwMode="auto">
          <a:xfrm>
            <a:off x="417513" y="1524000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Dotty dots is first option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1BD3BF5-C4E9-2A46-9E4F-6F6A69B5F4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82145" y="2315046"/>
            <a:ext cx="762000" cy="7620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F67D4F3A-244D-1940-A3F6-99D9EA7225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62995" y="2315046"/>
            <a:ext cx="762000" cy="762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A68F515F-DE7F-914E-9C2C-654A547FDE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01295" y="2315046"/>
            <a:ext cx="762000" cy="762000"/>
          </a:xfrm>
          <a:prstGeom prst="rect">
            <a:avLst/>
          </a:prstGeom>
        </p:spPr>
      </p:pic>
      <p:sp>
        <p:nvSpPr>
          <p:cNvPr id="9" name="Rectangle: Rounded Corners 32">
            <a:extLst>
              <a:ext uri="{FF2B5EF4-FFF2-40B4-BE49-F238E27FC236}">
                <a16:creationId xmlns:a16="http://schemas.microsoft.com/office/drawing/2014/main" id="{AC32F533-A21C-2B4C-A961-50043FB8B6AF}"/>
              </a:ext>
            </a:extLst>
          </p:cNvPr>
          <p:cNvSpPr/>
          <p:nvPr/>
        </p:nvSpPr>
        <p:spPr bwMode="auto">
          <a:xfrm>
            <a:off x="417513" y="3701592"/>
            <a:ext cx="4294187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2</a:t>
            </a:r>
            <a:r>
              <a:rPr lang="en-US" b="1" baseline="30000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nd</a:t>
            </a:r>
            <a:r>
              <a:rPr lang="en-US" b="1" dirty="0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 option is thin line icons like below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E89055E-9C55-A249-AF01-EB10EF2F3EC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04207" y="4508128"/>
            <a:ext cx="920799" cy="920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386899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072894-3AF9-244D-AFBA-E34B8DE971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Text </a:t>
            </a:r>
            <a:r>
              <a:rPr lang="hu-HU" dirty="0" err="1"/>
              <a:t>boxes</a:t>
            </a:r>
            <a:endParaRPr lang="hu-H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3B3B05-68B5-F347-B773-97373847C9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AFC10B-F707-4E2E-A165-AA17571AEF08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41ADE6-A35F-5344-AAF3-4871710A60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pc="1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5" name="Rectangle: Rounded Corners 2">
            <a:extLst>
              <a:ext uri="{FF2B5EF4-FFF2-40B4-BE49-F238E27FC236}">
                <a16:creationId xmlns:a16="http://schemas.microsoft.com/office/drawing/2014/main" id="{70BD0DC0-73A6-1C47-B042-6642F8FF8D60}"/>
              </a:ext>
            </a:extLst>
          </p:cNvPr>
          <p:cNvSpPr/>
          <p:nvPr/>
        </p:nvSpPr>
        <p:spPr bwMode="auto">
          <a:xfrm>
            <a:off x="3249301" y="1524000"/>
            <a:ext cx="2254250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 err="1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Example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: Rounded Corners 10">
            <a:extLst>
              <a:ext uri="{FF2B5EF4-FFF2-40B4-BE49-F238E27FC236}">
                <a16:creationId xmlns:a16="http://schemas.microsoft.com/office/drawing/2014/main" id="{7509E247-A139-E844-BAA5-47263C221F69}"/>
              </a:ext>
            </a:extLst>
          </p:cNvPr>
          <p:cNvSpPr/>
          <p:nvPr/>
        </p:nvSpPr>
        <p:spPr bwMode="auto">
          <a:xfrm>
            <a:off x="3250055" y="1981718"/>
            <a:ext cx="2255084" cy="1150070"/>
          </a:xfrm>
          <a:prstGeom prst="roundRect">
            <a:avLst>
              <a:gd name="adj" fmla="val 10929"/>
            </a:avLst>
          </a:prstGeom>
          <a:solidFill>
            <a:schemeClr val="bg1">
              <a:lumMod val="95000"/>
            </a:schemeClr>
          </a:solidFill>
          <a:ln w="12700">
            <a:solidFill>
              <a:srgbClr val="7DD8C7"/>
            </a:solidFill>
            <a:round/>
            <a:headEnd/>
            <a:tailEnd/>
          </a:ln>
        </p:spPr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509AAF"/>
                </a:solidFill>
                <a:latin typeface="IBM Plex Sans" panose="020B0503050203000203" pitchFamily="34" charset="0"/>
              </a:rPr>
              <a:t>Lorem</a:t>
            </a:r>
            <a:r>
              <a:rPr lang="de-DE" dirty="0">
                <a:solidFill>
                  <a:srgbClr val="509AAF"/>
                </a:solidFill>
                <a:latin typeface="IBM Plex Sans" panose="020B0503050203000203" pitchFamily="34" charset="0"/>
              </a:rPr>
              <a:t> </a:t>
            </a:r>
            <a:r>
              <a:rPr lang="de-DE" dirty="0" err="1">
                <a:solidFill>
                  <a:srgbClr val="509AAF"/>
                </a:solidFill>
                <a:latin typeface="IBM Plex Sans" panose="020B0503050203000203" pitchFamily="34" charset="0"/>
              </a:rPr>
              <a:t>ipsum</a:t>
            </a:r>
            <a:r>
              <a:rPr lang="de-DE" dirty="0">
                <a:solidFill>
                  <a:srgbClr val="509AAF"/>
                </a:solidFill>
                <a:latin typeface="IBM Plex Sans" panose="020B0503050203000203" pitchFamily="34" charset="0"/>
              </a:rPr>
              <a:t> </a:t>
            </a:r>
          </a:p>
        </p:txBody>
      </p:sp>
      <p:sp>
        <p:nvSpPr>
          <p:cNvPr id="7" name="Rectangle: Rounded Corners 13">
            <a:extLst>
              <a:ext uri="{FF2B5EF4-FFF2-40B4-BE49-F238E27FC236}">
                <a16:creationId xmlns:a16="http://schemas.microsoft.com/office/drawing/2014/main" id="{62A01FD9-30E2-7544-A92D-D7521E94B20B}"/>
              </a:ext>
            </a:extLst>
          </p:cNvPr>
          <p:cNvSpPr/>
          <p:nvPr/>
        </p:nvSpPr>
        <p:spPr bwMode="auto">
          <a:xfrm>
            <a:off x="417513" y="1524000"/>
            <a:ext cx="2254250" cy="461665"/>
          </a:xfrm>
          <a:prstGeom prst="roundRect">
            <a:avLst/>
          </a:prstGeom>
          <a:solidFill>
            <a:srgbClr val="509AA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da-DK" b="1" dirty="0" err="1">
                <a:solidFill>
                  <a:schemeClr val="bg1"/>
                </a:solidFill>
                <a:latin typeface="IBM Plex Sans Medium" panose="020B0603050203000203" pitchFamily="34" charset="0"/>
                <a:cs typeface="Arial" panose="020B0604020202020204" pitchFamily="34" charset="0"/>
              </a:rPr>
              <a:t>Settings</a:t>
            </a:r>
            <a:endParaRPr lang="de-DE" b="1" dirty="0">
              <a:solidFill>
                <a:schemeClr val="bg1"/>
              </a:solidFill>
              <a:latin typeface="IBM Plex Sans Medium" panose="020B0603050203000203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984ED2-070F-A243-A7FE-FD866310CE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514" y="2090956"/>
            <a:ext cx="2254250" cy="3293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28426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v8_7jyQeSDJAYgCNZm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0_Basis presentation UK">
  <a:themeElements>
    <a:clrScheme name="Executive Advisors">
      <a:dk1>
        <a:srgbClr val="509AAF"/>
      </a:dk1>
      <a:lt1>
        <a:srgbClr val="FFFFFF"/>
      </a:lt1>
      <a:dk2>
        <a:srgbClr val="F5FFC3"/>
      </a:dk2>
      <a:lt2>
        <a:srgbClr val="7D7D7D"/>
      </a:lt2>
      <a:accent1>
        <a:srgbClr val="612C83"/>
      </a:accent1>
      <a:accent2>
        <a:srgbClr val="D2D2D2"/>
      </a:accent2>
      <a:accent3>
        <a:srgbClr val="BFBFBF"/>
      </a:accent3>
      <a:accent4>
        <a:srgbClr val="C2B5BF"/>
      </a:accent4>
      <a:accent5>
        <a:srgbClr val="303030"/>
      </a:accent5>
      <a:accent6>
        <a:srgbClr val="E7E7EC"/>
      </a:accent6>
      <a:hlink>
        <a:srgbClr val="8C8C8C"/>
      </a:hlink>
      <a:folHlink>
        <a:srgbClr val="000000"/>
      </a:folHlink>
    </a:clrScheme>
    <a:fontScheme name="Custom 1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509AAF"/>
        </a:solidFill>
        <a:ln w="12700">
          <a:noFill/>
          <a:round/>
          <a:headEnd/>
          <a:tailEnd/>
        </a:ln>
      </a:spPr>
      <a:bodyPr wrap="square" lIns="0" tIns="0" rIns="0" bIns="0" rtlCol="0" anchor="ctr">
        <a:noAutofit/>
      </a:bodyPr>
      <a:lstStyle>
        <a:defPPr algn="l">
          <a:defRPr dirty="0">
            <a:solidFill>
              <a:schemeClr val="tx2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M template new colors.pptx" id="{DBF6032C-74CD-4EB8-87D3-6A8A5ADA2D0A}" vid="{6B40890E-3518-4B1D-83AF-0511E7675902}"/>
    </a:ext>
  </a:extLst>
</a:theme>
</file>

<file path=ppt/theme/theme2.xml><?xml version="1.0" encoding="utf-8"?>
<a:theme xmlns:a="http://schemas.openxmlformats.org/drawingml/2006/main" name="Kontortema">
  <a:themeElements>
    <a:clrScheme name="">
      <a:dk1>
        <a:srgbClr val="000066"/>
      </a:dk1>
      <a:lt1>
        <a:srgbClr val="FFFFFF"/>
      </a:lt1>
      <a:dk2>
        <a:srgbClr val="000066"/>
      </a:dk2>
      <a:lt2>
        <a:srgbClr val="000000"/>
      </a:lt2>
      <a:accent1>
        <a:srgbClr val="FFFFFF"/>
      </a:accent1>
      <a:accent2>
        <a:srgbClr val="CDCDCD"/>
      </a:accent2>
      <a:accent3>
        <a:srgbClr val="FFFFFF"/>
      </a:accent3>
      <a:accent4>
        <a:srgbClr val="000056"/>
      </a:accent4>
      <a:accent5>
        <a:srgbClr val="FFFFFF"/>
      </a:accent5>
      <a:accent6>
        <a:srgbClr val="BABABA"/>
      </a:accent6>
      <a:hlink>
        <a:srgbClr val="777777"/>
      </a:hlink>
      <a:folHlink>
        <a:srgbClr val="000066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B9ED4FCBFFE2141BEF8D275EC8A6B1F" ma:contentTypeVersion="10" ma:contentTypeDescription="Create a new document." ma:contentTypeScope="" ma:versionID="101d727554ea68a1f860d78d9b6d0120">
  <xsd:schema xmlns:xsd="http://www.w3.org/2001/XMLSchema" xmlns:xs="http://www.w3.org/2001/XMLSchema" xmlns:p="http://schemas.microsoft.com/office/2006/metadata/properties" xmlns:ns2="76bd1358-98cb-4bc6-9b1c-3f3d760f5768" xmlns:ns3="7da3498b-f732-4cff-b8b6-6fbc0cd175e9" targetNamespace="http://schemas.microsoft.com/office/2006/metadata/properties" ma:root="true" ma:fieldsID="e7cae75dc3f9ee10ea3848f6ca6771a9" ns2:_="" ns3:_="">
    <xsd:import namespace="76bd1358-98cb-4bc6-9b1c-3f3d760f5768"/>
    <xsd:import namespace="7da3498b-f732-4cff-b8b6-6fbc0cd175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bd1358-98cb-4bc6-9b1c-3f3d760f576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3498b-f732-4cff-b8b6-6fbc0cd175e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E5A6E97-AAA1-4285-AB20-2CE2C74C06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84949EB-D460-447E-BD5D-94A2AD359B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bd1358-98cb-4bc6-9b1c-3f3d760f5768"/>
    <ds:schemaRef ds:uri="7da3498b-f732-4cff-b8b6-6fbc0cd175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F7512EF-4A56-47BD-98DF-E5835B8FBFFE}">
  <ds:schemaRefs>
    <ds:schemaRef ds:uri="http://purl.org/dc/terms/"/>
    <ds:schemaRef ds:uri="http://schemas.openxmlformats.org/package/2006/metadata/core-properties"/>
    <ds:schemaRef ds:uri="7da3498b-f732-4cff-b8b6-6fbc0cd175e9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76bd1358-98cb-4bc6-9b1c-3f3d760f5768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M template new colors</Template>
  <TotalTime>24964</TotalTime>
  <Words>659</Words>
  <Application>Microsoft Office PowerPoint</Application>
  <PresentationFormat>A4 Paper (210x297 mm)</PresentationFormat>
  <Paragraphs>159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0" baseType="lpstr">
      <vt:lpstr>Wingdings</vt:lpstr>
      <vt:lpstr>IBM Plex Sans Medium</vt:lpstr>
      <vt:lpstr>IBM Plex Sans SemiBold</vt:lpstr>
      <vt:lpstr>IBM Plex Sans Light</vt:lpstr>
      <vt:lpstr>Raleway</vt:lpstr>
      <vt:lpstr>Poppins</vt:lpstr>
      <vt:lpstr>Poppins Medium</vt:lpstr>
      <vt:lpstr>Montserrat</vt:lpstr>
      <vt:lpstr>Calibri</vt:lpstr>
      <vt:lpstr>Arial</vt:lpstr>
      <vt:lpstr>IBM Plex Sans</vt:lpstr>
      <vt:lpstr>Open Sans</vt:lpstr>
      <vt:lpstr>2010_Basis presentation UK</vt:lpstr>
      <vt:lpstr>think-cell Slide</vt:lpstr>
      <vt:lpstr>PowerPoint Presentation</vt:lpstr>
      <vt:lpstr>Title goes here in IBM SemiBold size 24</vt:lpstr>
      <vt:lpstr>8 week Sprint – Project design guide</vt:lpstr>
      <vt:lpstr>Onsite vs. Remote Work: 7 Key Differences in Leadership Style</vt:lpstr>
      <vt:lpstr>Most well known media</vt:lpstr>
      <vt:lpstr>What are the chances your business will survive?</vt:lpstr>
      <vt:lpstr>Colors</vt:lpstr>
      <vt:lpstr>Icons</vt:lpstr>
      <vt:lpstr>Text boxes</vt:lpstr>
      <vt:lpstr>Typeface</vt:lpstr>
      <vt:lpstr>Graphs</vt:lpstr>
      <vt:lpstr>Client inspiration 1/4</vt:lpstr>
      <vt:lpstr>Client inspiration 2/4</vt:lpstr>
      <vt:lpstr>Client inspiration 3/4</vt:lpstr>
      <vt:lpstr>Client inspiration 4/4</vt:lpstr>
      <vt:lpstr>PowerPoint Presentation</vt:lpstr>
    </vt:vector>
  </TitlesOfParts>
  <Company>no-mo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ers Thomsen</dc:creator>
  <cp:lastModifiedBy>Himanshu singh</cp:lastModifiedBy>
  <cp:revision>972</cp:revision>
  <cp:lastPrinted>2016-08-13T15:57:21Z</cp:lastPrinted>
  <dcterms:created xsi:type="dcterms:W3CDTF">2016-08-13T12:33:55Z</dcterms:created>
  <dcterms:modified xsi:type="dcterms:W3CDTF">2021-10-20T06:1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106578</vt:lpwstr>
  </property>
  <property fmtid="{D5CDD505-2E9C-101B-9397-08002B2CF9AE}" pid="3" name="NXPowerLiteVersion">
    <vt:lpwstr>D4.1.1</vt:lpwstr>
  </property>
  <property fmtid="{D5CDD505-2E9C-101B-9397-08002B2CF9AE}" pid="4" name="ContentTypeId">
    <vt:lpwstr>0x010100AB9ED4FCBFFE2141BEF8D275EC8A6B1F</vt:lpwstr>
  </property>
</Properties>
</file>